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4" r:id="rId4"/>
    <p:sldMasterId id="2147483832" r:id="rId5"/>
    <p:sldMasterId id="2147483897" r:id="rId6"/>
    <p:sldMasterId id="2147483907" r:id="rId7"/>
  </p:sldMasterIdLst>
  <p:notesMasterIdLst>
    <p:notesMasterId r:id="rId20"/>
  </p:notesMasterIdLst>
  <p:sldIdLst>
    <p:sldId id="2147482046" r:id="rId8"/>
    <p:sldId id="2147481231" r:id="rId9"/>
    <p:sldId id="2147482158" r:id="rId10"/>
    <p:sldId id="2147482159" r:id="rId11"/>
    <p:sldId id="2147482160" r:id="rId12"/>
    <p:sldId id="2147482036" r:id="rId13"/>
    <p:sldId id="2147482162" r:id="rId14"/>
    <p:sldId id="2147482165" r:id="rId15"/>
    <p:sldId id="2147482161" r:id="rId16"/>
    <p:sldId id="2147482163" r:id="rId17"/>
    <p:sldId id="2147482164" r:id="rId18"/>
    <p:sldId id="2147482139" r:id="rId19"/>
  </p:sldIdLst>
  <p:sldSz cx="12192000" cy="6858000"/>
  <p:notesSz cx="6858000" cy="9144000"/>
  <p:custDataLst>
    <p:tags r:id="rId21"/>
  </p:custDataLst>
  <p:defaultTextStyle>
    <a:defPPr>
      <a:defRPr lang="en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77C"/>
    <a:srgbClr val="B7DEE8"/>
    <a:srgbClr val="FAE9A2"/>
    <a:srgbClr val="A9D08E"/>
    <a:srgbClr val="003300"/>
    <a:srgbClr val="F3A8AD"/>
    <a:srgbClr val="C3E8B0"/>
    <a:srgbClr val="98CAF9"/>
    <a:srgbClr val="FFE7E7"/>
    <a:srgbClr val="FFC9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57860D-7406-4347-B2ED-19C7F335EBBF}" type="datetimeFigureOut">
              <a:rPr lang="en-PE" smtClean="0"/>
              <a:t>11/13/2025</a:t>
            </a:fld>
            <a:endParaRPr lang="en-P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99D061-E353-474D-8A81-4F623B717581}" type="slidenum">
              <a:rPr lang="en-PE" smtClean="0"/>
              <a:t>‹Nº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744546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034B9-0229-E302-F347-E82FC34FA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F33FE2-6E44-713D-162D-B5B4C767CA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CD019B-8EF7-8823-6FC3-CFCA0764A8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resentation footer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8B076-34A5-144B-BBA8-8FDD567071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E1FFAB-E171-455B-9038-C4EED3267AD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803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13226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13226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690281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5508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7"/>
            <a:ext cx="5508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0489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7"/>
            <a:ext cx="46908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7"/>
            <a:ext cx="46908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820991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28011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86609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Large R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2FACF5-A60D-44FC-A578-FD005792C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8"/>
            <a:ext cx="4248000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F58283-0844-453D-BCD6-1587B2F3A93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974175" y="1925637"/>
            <a:ext cx="6840000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13F999CE-9C37-4238-A5F2-7077956E68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C1D8F21-2709-44C6-A862-3D477B455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62A929BA-F06F-4FD5-B86B-A9BB60B1D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E2EC9FA-6FAE-4F8D-9B12-6CAF9A278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FC2F68CA-B5CC-45F6-8512-B1E3E626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5A2837E-1EC9-41CC-935E-B6626B260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8C5CFF76-8EB9-4194-9F16-96322A7EBA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3A66B96A-1ADA-49F7-8591-831A0D763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F193243B-9D63-43C7-80DB-062E39A87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58C4DD8-75E6-4E2A-94DF-E7721F561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D234DAB2-9B0E-4241-B678-A946BCA8C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C1DDC25C-3BB1-47EA-8E84-30FDD1A0F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1A764D80-A055-4544-9F76-839ABE364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4B0C36D1-5C10-440B-B520-D54A84ED1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55081E98-9AD7-49D4-A3BA-695740532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19">
              <a:extLst>
                <a:ext uri="{FF2B5EF4-FFF2-40B4-BE49-F238E27FC236}">
                  <a16:creationId xmlns:a16="http://schemas.microsoft.com/office/drawing/2014/main" id="{4D022B0E-9EF3-4A0E-9799-F106EE46B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97B93A24-9C0E-4089-8066-FAEF86B16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B64D47BB-2B68-4656-8E7F-495B6CA9D5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DFDBB07-E509-40CC-8E83-EB4C832DAE9C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47954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8"/>
            <a:ext cx="3607594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7"/>
            <a:ext cx="3607594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7"/>
            <a:ext cx="3607594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777069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>
            <a:cxnSpLocks/>
          </p:cNvCxnSpPr>
          <p:nvPr/>
        </p:nvCxnSpPr>
        <p:spPr>
          <a:xfrm>
            <a:off x="4138811" y="2779713"/>
            <a:ext cx="0" cy="32781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>
            <a:cxnSpLocks/>
          </p:cNvCxnSpPr>
          <p:nvPr/>
        </p:nvCxnSpPr>
        <p:spPr>
          <a:xfrm>
            <a:off x="8053189" y="2779713"/>
            <a:ext cx="0" cy="32781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27818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27818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27818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DDB2EE-8CD6-442F-BA65-39AEA4F29766}"/>
              </a:ext>
            </a:extLst>
          </p:cNvPr>
          <p:cNvCxnSpPr>
            <a:cxnSpLocks/>
          </p:cNvCxnSpPr>
          <p:nvPr userDrawn="1"/>
        </p:nvCxnSpPr>
        <p:spPr>
          <a:xfrm>
            <a:off x="4138811" y="2779713"/>
            <a:ext cx="0" cy="32781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27FC241-9D17-460A-BE0B-A03F5451C1FF}"/>
              </a:ext>
            </a:extLst>
          </p:cNvPr>
          <p:cNvCxnSpPr>
            <a:cxnSpLocks/>
          </p:cNvCxnSpPr>
          <p:nvPr userDrawn="1"/>
        </p:nvCxnSpPr>
        <p:spPr>
          <a:xfrm>
            <a:off x="8053189" y="2779713"/>
            <a:ext cx="0" cy="32781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close up of smoke&#10;&#10;Description automatically generated">
            <a:extLst>
              <a:ext uri="{FF2B5EF4-FFF2-40B4-BE49-F238E27FC236}">
                <a16:creationId xmlns:a16="http://schemas.microsoft.com/office/drawing/2014/main" id="{8F6618F1-D032-4383-BA0E-382AF51940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24" name="Picture 23" descr="A close up of smoke&#10;&#10;Description automatically generated">
            <a:extLst>
              <a:ext uri="{FF2B5EF4-FFF2-40B4-BE49-F238E27FC236}">
                <a16:creationId xmlns:a16="http://schemas.microsoft.com/office/drawing/2014/main" id="{F64FDA4F-559E-4152-9409-D77ACF81A0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9617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8"/>
            <a:ext cx="315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7"/>
            <a:ext cx="315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7"/>
            <a:ext cx="315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9110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8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7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7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FEE0B92C-6313-4930-92DB-8AAC2437AA8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69004CC-1FB9-4021-B58F-1BF267800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F3C3A850-2051-403E-AFF3-8BA590E9B0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4AD0EA21-CFC4-40EC-A8D1-0BD25B89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9F12C551-912C-4950-B238-7E27E0D38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96C5DD52-9AE3-4EAB-A4F7-B4B2DEE1E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5135950-A024-4C0C-99ED-E2EBDBE0F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22B2DF3-3A95-4F43-A0F7-91BEB0473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B4BF51C-C131-4B46-9003-9169FDFBD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CF6E9070-7709-484A-924D-D594F937E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07017E71-5110-48FF-B153-416DED9A1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40A91482-5A1E-4CEA-B6E0-2DE8AD6E8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18EB530D-9621-4BB9-B8B9-8BC3E030B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36FED6F2-6C7A-441D-92D3-06878E115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18002C71-63E9-4677-80A1-83119BAD9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19">
              <a:extLst>
                <a:ext uri="{FF2B5EF4-FFF2-40B4-BE49-F238E27FC236}">
                  <a16:creationId xmlns:a16="http://schemas.microsoft.com/office/drawing/2014/main" id="{0D6B9D74-CA48-44D4-8A39-F9BB0A586B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D3F35232-A76A-45C8-9398-B2E47810C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84CEA369-F3A0-46A2-BD16-A68567C51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7645BAE-8E11-460C-ABE2-B8C93955758E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7042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A2005243-429C-46AE-9C34-B949BE1269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4" y="-3332"/>
            <a:ext cx="12192763" cy="6866057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4587036 w 12192632"/>
              <a:gd name="connsiteY0" fmla="*/ 4044698 h 6861331"/>
              <a:gd name="connsiteX1" fmla="*/ 5186551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4587036 w 12192632"/>
              <a:gd name="connsiteY0" fmla="*/ 40446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5070512 w 12192632"/>
              <a:gd name="connsiteY0" fmla="*/ 342458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5070512 w 12192632"/>
              <a:gd name="connsiteY6" fmla="*/ 3424588 h 6861331"/>
              <a:gd name="connsiteX0" fmla="*/ 5007450 w 12192632"/>
              <a:gd name="connsiteY0" fmla="*/ 34350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5007450 w 12192632"/>
              <a:gd name="connsiteY6" fmla="*/ 3435098 h 6861331"/>
              <a:gd name="connsiteX0" fmla="*/ 5007450 w 12192632"/>
              <a:gd name="connsiteY0" fmla="*/ 34350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3434670 h 6861331"/>
              <a:gd name="connsiteX6" fmla="*/ 5007450 w 12192632"/>
              <a:gd name="connsiteY6" fmla="*/ 3435098 h 6861331"/>
              <a:gd name="connsiteX0" fmla="*/ 5017913 w 12203095"/>
              <a:gd name="connsiteY0" fmla="*/ 34350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017913 w 12203095"/>
              <a:gd name="connsiteY6" fmla="*/ 3435098 h 6861331"/>
              <a:gd name="connsiteX0" fmla="*/ 5017913 w 12203095"/>
              <a:gd name="connsiteY0" fmla="*/ 37779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017913 w 12203095"/>
              <a:gd name="connsiteY6" fmla="*/ 3777998 h 6861331"/>
              <a:gd name="connsiteX0" fmla="*/ 5017913 w 12203095"/>
              <a:gd name="connsiteY0" fmla="*/ 37779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4519436 w 12203095"/>
              <a:gd name="connsiteY6" fmla="*/ 3730782 h 6861331"/>
              <a:gd name="connsiteX7" fmla="*/ 5017913 w 12203095"/>
              <a:gd name="connsiteY7" fmla="*/ 3777998 h 6861331"/>
              <a:gd name="connsiteX0" fmla="*/ 5017913 w 12203095"/>
              <a:gd name="connsiteY0" fmla="*/ 37779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421136 w 12203095"/>
              <a:gd name="connsiteY6" fmla="*/ 3832382 h 6861331"/>
              <a:gd name="connsiteX7" fmla="*/ 5017913 w 12203095"/>
              <a:gd name="connsiteY7" fmla="*/ 3777998 h 6861331"/>
              <a:gd name="connsiteX0" fmla="*/ 5017913 w 12203095"/>
              <a:gd name="connsiteY0" fmla="*/ 37779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6478 w 12203095"/>
              <a:gd name="connsiteY6" fmla="*/ 3811834 h 6861331"/>
              <a:gd name="connsiteX7" fmla="*/ 5017913 w 12203095"/>
              <a:gd name="connsiteY7" fmla="*/ 3777998 h 6861331"/>
              <a:gd name="connsiteX0" fmla="*/ 5026132 w 12203095"/>
              <a:gd name="connsiteY0" fmla="*/ 380676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6478 w 12203095"/>
              <a:gd name="connsiteY6" fmla="*/ 3811834 h 6861331"/>
              <a:gd name="connsiteX7" fmla="*/ 5026132 w 12203095"/>
              <a:gd name="connsiteY7" fmla="*/ 3806766 h 6861331"/>
              <a:gd name="connsiteX0" fmla="*/ 5026132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6478 w 12203095"/>
              <a:gd name="connsiteY6" fmla="*/ 3811834 h 6861331"/>
              <a:gd name="connsiteX7" fmla="*/ 5026132 w 12203095"/>
              <a:gd name="connsiteY7" fmla="*/ 3810876 h 6861331"/>
              <a:gd name="connsiteX0" fmla="*/ 5026132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4897325 w 12203095"/>
              <a:gd name="connsiteY6" fmla="*/ 3771893 h 6861331"/>
              <a:gd name="connsiteX7" fmla="*/ 5396478 w 12203095"/>
              <a:gd name="connsiteY7" fmla="*/ 3811834 h 6861331"/>
              <a:gd name="connsiteX8" fmla="*/ 5026132 w 12203095"/>
              <a:gd name="connsiteY8" fmla="*/ 3810876 h 6861331"/>
              <a:gd name="connsiteX0" fmla="*/ 5026132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4594 w 12203095"/>
              <a:gd name="connsiteY6" fmla="*/ 3439011 h 6861331"/>
              <a:gd name="connsiteX7" fmla="*/ 5396478 w 12203095"/>
              <a:gd name="connsiteY7" fmla="*/ 3811834 h 6861331"/>
              <a:gd name="connsiteX8" fmla="*/ 5026132 w 12203095"/>
              <a:gd name="connsiteY8" fmla="*/ 3810876 h 6861331"/>
              <a:gd name="connsiteX0" fmla="*/ 5022022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4594 w 12203095"/>
              <a:gd name="connsiteY6" fmla="*/ 3439011 h 6861331"/>
              <a:gd name="connsiteX7" fmla="*/ 5396478 w 12203095"/>
              <a:gd name="connsiteY7" fmla="*/ 3811834 h 6861331"/>
              <a:gd name="connsiteX8" fmla="*/ 5022022 w 12203095"/>
              <a:gd name="connsiteY8" fmla="*/ 3810876 h 6861331"/>
              <a:gd name="connsiteX0" fmla="*/ 5017913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4594 w 12203095"/>
              <a:gd name="connsiteY6" fmla="*/ 3439011 h 6861331"/>
              <a:gd name="connsiteX7" fmla="*/ 5396478 w 12203095"/>
              <a:gd name="connsiteY7" fmla="*/ 3811834 h 6861331"/>
              <a:gd name="connsiteX8" fmla="*/ 5017913 w 12203095"/>
              <a:gd name="connsiteY8" fmla="*/ 3810876 h 6861331"/>
              <a:gd name="connsiteX0" fmla="*/ 5017913 w 12203095"/>
              <a:gd name="connsiteY0" fmla="*/ 3810876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4594 w 12203095"/>
              <a:gd name="connsiteY6" fmla="*/ 3434901 h 6861331"/>
              <a:gd name="connsiteX7" fmla="*/ 5396478 w 12203095"/>
              <a:gd name="connsiteY7" fmla="*/ 3811834 h 6861331"/>
              <a:gd name="connsiteX8" fmla="*/ 5017913 w 12203095"/>
              <a:gd name="connsiteY8" fmla="*/ 3810876 h 6861331"/>
              <a:gd name="connsiteX0" fmla="*/ 5017913 w 12203095"/>
              <a:gd name="connsiteY0" fmla="*/ 3813293 h 6863748"/>
              <a:gd name="connsiteX1" fmla="*/ 5022296 w 12203095"/>
              <a:gd name="connsiteY1" fmla="*/ 0 h 6863748"/>
              <a:gd name="connsiteX2" fmla="*/ 12203095 w 12203095"/>
              <a:gd name="connsiteY2" fmla="*/ 2417 h 6863748"/>
              <a:gd name="connsiteX3" fmla="*/ 12202936 w 12203095"/>
              <a:gd name="connsiteY3" fmla="*/ 6863748 h 6863748"/>
              <a:gd name="connsiteX4" fmla="*/ 10936 w 12203095"/>
              <a:gd name="connsiteY4" fmla="*/ 6863748 h 6863748"/>
              <a:gd name="connsiteX5" fmla="*/ 0 w 12203095"/>
              <a:gd name="connsiteY5" fmla="*/ 3437087 h 6863748"/>
              <a:gd name="connsiteX6" fmla="*/ 5394594 w 12203095"/>
              <a:gd name="connsiteY6" fmla="*/ 3437318 h 6863748"/>
              <a:gd name="connsiteX7" fmla="*/ 5396478 w 12203095"/>
              <a:gd name="connsiteY7" fmla="*/ 3814251 h 6863748"/>
              <a:gd name="connsiteX8" fmla="*/ 5017913 w 12203095"/>
              <a:gd name="connsiteY8" fmla="*/ 3813293 h 6863748"/>
              <a:gd name="connsiteX0" fmla="*/ 5017913 w 12203095"/>
              <a:gd name="connsiteY0" fmla="*/ 3810876 h 6861331"/>
              <a:gd name="connsiteX1" fmla="*/ 5022296 w 12203095"/>
              <a:gd name="connsiteY1" fmla="*/ 2447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394594 w 12203095"/>
              <a:gd name="connsiteY6" fmla="*/ 3434901 h 6861331"/>
              <a:gd name="connsiteX7" fmla="*/ 5396478 w 12203095"/>
              <a:gd name="connsiteY7" fmla="*/ 3811834 h 6861331"/>
              <a:gd name="connsiteX8" fmla="*/ 5017913 w 12203095"/>
              <a:gd name="connsiteY8" fmla="*/ 3810876 h 6861331"/>
              <a:gd name="connsiteX0" fmla="*/ 5011025 w 12196207"/>
              <a:gd name="connsiteY0" fmla="*/ 3810876 h 6861331"/>
              <a:gd name="connsiteX1" fmla="*/ 5015408 w 12196207"/>
              <a:gd name="connsiteY1" fmla="*/ 2447 h 6861331"/>
              <a:gd name="connsiteX2" fmla="*/ 12196207 w 12196207"/>
              <a:gd name="connsiteY2" fmla="*/ 0 h 6861331"/>
              <a:gd name="connsiteX3" fmla="*/ 12196048 w 12196207"/>
              <a:gd name="connsiteY3" fmla="*/ 6861331 h 6861331"/>
              <a:gd name="connsiteX4" fmla="*/ 4048 w 12196207"/>
              <a:gd name="connsiteY4" fmla="*/ 6861331 h 6861331"/>
              <a:gd name="connsiteX5" fmla="*/ 0 w 12196207"/>
              <a:gd name="connsiteY5" fmla="*/ 3434670 h 6861331"/>
              <a:gd name="connsiteX6" fmla="*/ 5387706 w 12196207"/>
              <a:gd name="connsiteY6" fmla="*/ 3434901 h 6861331"/>
              <a:gd name="connsiteX7" fmla="*/ 5389590 w 12196207"/>
              <a:gd name="connsiteY7" fmla="*/ 3811834 h 6861331"/>
              <a:gd name="connsiteX8" fmla="*/ 5011025 w 12196207"/>
              <a:gd name="connsiteY8" fmla="*/ 3810876 h 6861331"/>
              <a:gd name="connsiteX0" fmla="*/ 5007213 w 12192395"/>
              <a:gd name="connsiteY0" fmla="*/ 3810876 h 6861331"/>
              <a:gd name="connsiteX1" fmla="*/ 5011596 w 12192395"/>
              <a:gd name="connsiteY1" fmla="*/ 2447 h 6861331"/>
              <a:gd name="connsiteX2" fmla="*/ 12192395 w 12192395"/>
              <a:gd name="connsiteY2" fmla="*/ 0 h 6861331"/>
              <a:gd name="connsiteX3" fmla="*/ 12192236 w 12192395"/>
              <a:gd name="connsiteY3" fmla="*/ 6861331 h 6861331"/>
              <a:gd name="connsiteX4" fmla="*/ 236 w 12192395"/>
              <a:gd name="connsiteY4" fmla="*/ 6861331 h 6861331"/>
              <a:gd name="connsiteX5" fmla="*/ 3076 w 12192395"/>
              <a:gd name="connsiteY5" fmla="*/ 3434670 h 6861331"/>
              <a:gd name="connsiteX6" fmla="*/ 5383894 w 12192395"/>
              <a:gd name="connsiteY6" fmla="*/ 3434901 h 6861331"/>
              <a:gd name="connsiteX7" fmla="*/ 5385778 w 12192395"/>
              <a:gd name="connsiteY7" fmla="*/ 3811834 h 6861331"/>
              <a:gd name="connsiteX8" fmla="*/ 5007213 w 12192395"/>
              <a:gd name="connsiteY8" fmla="*/ 3810876 h 6861331"/>
              <a:gd name="connsiteX0" fmla="*/ 5007581 w 12192763"/>
              <a:gd name="connsiteY0" fmla="*/ 3810876 h 6861331"/>
              <a:gd name="connsiteX1" fmla="*/ 5011964 w 12192763"/>
              <a:gd name="connsiteY1" fmla="*/ 2447 h 6861331"/>
              <a:gd name="connsiteX2" fmla="*/ 12192763 w 12192763"/>
              <a:gd name="connsiteY2" fmla="*/ 0 h 6861331"/>
              <a:gd name="connsiteX3" fmla="*/ 12192604 w 12192763"/>
              <a:gd name="connsiteY3" fmla="*/ 6861331 h 6861331"/>
              <a:gd name="connsiteX4" fmla="*/ 604 w 12192763"/>
              <a:gd name="connsiteY4" fmla="*/ 6861331 h 6861331"/>
              <a:gd name="connsiteX5" fmla="*/ 0 w 12192763"/>
              <a:gd name="connsiteY5" fmla="*/ 3434670 h 6861331"/>
              <a:gd name="connsiteX6" fmla="*/ 5384262 w 12192763"/>
              <a:gd name="connsiteY6" fmla="*/ 3434901 h 6861331"/>
              <a:gd name="connsiteX7" fmla="*/ 5386146 w 12192763"/>
              <a:gd name="connsiteY7" fmla="*/ 3811834 h 6861331"/>
              <a:gd name="connsiteX8" fmla="*/ 5007581 w 12192763"/>
              <a:gd name="connsiteY8" fmla="*/ 3810876 h 6861331"/>
              <a:gd name="connsiteX0" fmla="*/ 5007581 w 12192763"/>
              <a:gd name="connsiteY0" fmla="*/ 3810876 h 6866057"/>
              <a:gd name="connsiteX1" fmla="*/ 5011964 w 12192763"/>
              <a:gd name="connsiteY1" fmla="*/ 2447 h 6866057"/>
              <a:gd name="connsiteX2" fmla="*/ 12192763 w 12192763"/>
              <a:gd name="connsiteY2" fmla="*/ 0 h 6866057"/>
              <a:gd name="connsiteX3" fmla="*/ 12192604 w 12192763"/>
              <a:gd name="connsiteY3" fmla="*/ 6861331 h 6866057"/>
              <a:gd name="connsiteX4" fmla="*/ 604 w 12192763"/>
              <a:gd name="connsiteY4" fmla="*/ 6866057 h 6866057"/>
              <a:gd name="connsiteX5" fmla="*/ 0 w 12192763"/>
              <a:gd name="connsiteY5" fmla="*/ 3434670 h 6866057"/>
              <a:gd name="connsiteX6" fmla="*/ 5384262 w 12192763"/>
              <a:gd name="connsiteY6" fmla="*/ 3434901 h 6866057"/>
              <a:gd name="connsiteX7" fmla="*/ 5386146 w 12192763"/>
              <a:gd name="connsiteY7" fmla="*/ 3811834 h 6866057"/>
              <a:gd name="connsiteX8" fmla="*/ 5007581 w 12192763"/>
              <a:gd name="connsiteY8" fmla="*/ 3810876 h 6866057"/>
              <a:gd name="connsiteX0" fmla="*/ 5007581 w 12192763"/>
              <a:gd name="connsiteY0" fmla="*/ 3810876 h 6870783"/>
              <a:gd name="connsiteX1" fmla="*/ 5011964 w 12192763"/>
              <a:gd name="connsiteY1" fmla="*/ 2447 h 6870783"/>
              <a:gd name="connsiteX2" fmla="*/ 12192763 w 12192763"/>
              <a:gd name="connsiteY2" fmla="*/ 0 h 6870783"/>
              <a:gd name="connsiteX3" fmla="*/ 12192604 w 12192763"/>
              <a:gd name="connsiteY3" fmla="*/ 6861331 h 6870783"/>
              <a:gd name="connsiteX4" fmla="*/ 604 w 12192763"/>
              <a:gd name="connsiteY4" fmla="*/ 6870783 h 6870783"/>
              <a:gd name="connsiteX5" fmla="*/ 0 w 12192763"/>
              <a:gd name="connsiteY5" fmla="*/ 3434670 h 6870783"/>
              <a:gd name="connsiteX6" fmla="*/ 5384262 w 12192763"/>
              <a:gd name="connsiteY6" fmla="*/ 3434901 h 6870783"/>
              <a:gd name="connsiteX7" fmla="*/ 5386146 w 12192763"/>
              <a:gd name="connsiteY7" fmla="*/ 3811834 h 6870783"/>
              <a:gd name="connsiteX8" fmla="*/ 5007581 w 12192763"/>
              <a:gd name="connsiteY8" fmla="*/ 3810876 h 6870783"/>
              <a:gd name="connsiteX0" fmla="*/ 5007581 w 12192763"/>
              <a:gd name="connsiteY0" fmla="*/ 3810876 h 6870783"/>
              <a:gd name="connsiteX1" fmla="*/ 5011964 w 12192763"/>
              <a:gd name="connsiteY1" fmla="*/ 2447 h 6870783"/>
              <a:gd name="connsiteX2" fmla="*/ 12192763 w 12192763"/>
              <a:gd name="connsiteY2" fmla="*/ 0 h 6870783"/>
              <a:gd name="connsiteX3" fmla="*/ 12192604 w 12192763"/>
              <a:gd name="connsiteY3" fmla="*/ 6866057 h 6870783"/>
              <a:gd name="connsiteX4" fmla="*/ 604 w 12192763"/>
              <a:gd name="connsiteY4" fmla="*/ 6870783 h 6870783"/>
              <a:gd name="connsiteX5" fmla="*/ 0 w 12192763"/>
              <a:gd name="connsiteY5" fmla="*/ 3434670 h 6870783"/>
              <a:gd name="connsiteX6" fmla="*/ 5384262 w 12192763"/>
              <a:gd name="connsiteY6" fmla="*/ 3434901 h 6870783"/>
              <a:gd name="connsiteX7" fmla="*/ 5386146 w 12192763"/>
              <a:gd name="connsiteY7" fmla="*/ 3811834 h 6870783"/>
              <a:gd name="connsiteX8" fmla="*/ 5007581 w 12192763"/>
              <a:gd name="connsiteY8" fmla="*/ 3810876 h 6870783"/>
              <a:gd name="connsiteX0" fmla="*/ 5007581 w 12192763"/>
              <a:gd name="connsiteY0" fmla="*/ 3810876 h 6866057"/>
              <a:gd name="connsiteX1" fmla="*/ 5011964 w 12192763"/>
              <a:gd name="connsiteY1" fmla="*/ 2447 h 6866057"/>
              <a:gd name="connsiteX2" fmla="*/ 12192763 w 12192763"/>
              <a:gd name="connsiteY2" fmla="*/ 0 h 6866057"/>
              <a:gd name="connsiteX3" fmla="*/ 12192604 w 12192763"/>
              <a:gd name="connsiteY3" fmla="*/ 6866057 h 6866057"/>
              <a:gd name="connsiteX4" fmla="*/ 604 w 12192763"/>
              <a:gd name="connsiteY4" fmla="*/ 6866057 h 6866057"/>
              <a:gd name="connsiteX5" fmla="*/ 0 w 12192763"/>
              <a:gd name="connsiteY5" fmla="*/ 3434670 h 6866057"/>
              <a:gd name="connsiteX6" fmla="*/ 5384262 w 12192763"/>
              <a:gd name="connsiteY6" fmla="*/ 3434901 h 6866057"/>
              <a:gd name="connsiteX7" fmla="*/ 5386146 w 12192763"/>
              <a:gd name="connsiteY7" fmla="*/ 3811834 h 6866057"/>
              <a:gd name="connsiteX8" fmla="*/ 5007581 w 12192763"/>
              <a:gd name="connsiteY8" fmla="*/ 3810876 h 6866057"/>
              <a:gd name="connsiteX0" fmla="*/ 5007581 w 12192763"/>
              <a:gd name="connsiteY0" fmla="*/ 3810876 h 6866057"/>
              <a:gd name="connsiteX1" fmla="*/ 5011964 w 12192763"/>
              <a:gd name="connsiteY1" fmla="*/ 2447 h 6866057"/>
              <a:gd name="connsiteX2" fmla="*/ 12192763 w 12192763"/>
              <a:gd name="connsiteY2" fmla="*/ 0 h 6866057"/>
              <a:gd name="connsiteX3" fmla="*/ 12192604 w 12192763"/>
              <a:gd name="connsiteY3" fmla="*/ 6866057 h 6866057"/>
              <a:gd name="connsiteX4" fmla="*/ 10055 w 12192763"/>
              <a:gd name="connsiteY4" fmla="*/ 6866057 h 6866057"/>
              <a:gd name="connsiteX5" fmla="*/ 0 w 12192763"/>
              <a:gd name="connsiteY5" fmla="*/ 3434670 h 6866057"/>
              <a:gd name="connsiteX6" fmla="*/ 5384262 w 12192763"/>
              <a:gd name="connsiteY6" fmla="*/ 3434901 h 6866057"/>
              <a:gd name="connsiteX7" fmla="*/ 5386146 w 12192763"/>
              <a:gd name="connsiteY7" fmla="*/ 3811834 h 6866057"/>
              <a:gd name="connsiteX8" fmla="*/ 5007581 w 12192763"/>
              <a:gd name="connsiteY8" fmla="*/ 3810876 h 6866057"/>
              <a:gd name="connsiteX0" fmla="*/ 5007581 w 12192763"/>
              <a:gd name="connsiteY0" fmla="*/ 3810876 h 6866057"/>
              <a:gd name="connsiteX1" fmla="*/ 5011964 w 12192763"/>
              <a:gd name="connsiteY1" fmla="*/ 2447 h 6866057"/>
              <a:gd name="connsiteX2" fmla="*/ 12192763 w 12192763"/>
              <a:gd name="connsiteY2" fmla="*/ 0 h 6866057"/>
              <a:gd name="connsiteX3" fmla="*/ 12192604 w 12192763"/>
              <a:gd name="connsiteY3" fmla="*/ 6866057 h 6866057"/>
              <a:gd name="connsiteX4" fmla="*/ 604 w 12192763"/>
              <a:gd name="connsiteY4" fmla="*/ 6866057 h 6866057"/>
              <a:gd name="connsiteX5" fmla="*/ 0 w 12192763"/>
              <a:gd name="connsiteY5" fmla="*/ 3434670 h 6866057"/>
              <a:gd name="connsiteX6" fmla="*/ 5384262 w 12192763"/>
              <a:gd name="connsiteY6" fmla="*/ 3434901 h 6866057"/>
              <a:gd name="connsiteX7" fmla="*/ 5386146 w 12192763"/>
              <a:gd name="connsiteY7" fmla="*/ 3811834 h 6866057"/>
              <a:gd name="connsiteX8" fmla="*/ 5007581 w 12192763"/>
              <a:gd name="connsiteY8" fmla="*/ 3810876 h 6866057"/>
              <a:gd name="connsiteX0" fmla="*/ 5016552 w 12201734"/>
              <a:gd name="connsiteY0" fmla="*/ 3810876 h 6866057"/>
              <a:gd name="connsiteX1" fmla="*/ 5020935 w 12201734"/>
              <a:gd name="connsiteY1" fmla="*/ 2447 h 6866057"/>
              <a:gd name="connsiteX2" fmla="*/ 12201734 w 12201734"/>
              <a:gd name="connsiteY2" fmla="*/ 0 h 6866057"/>
              <a:gd name="connsiteX3" fmla="*/ 12201575 w 12201734"/>
              <a:gd name="connsiteY3" fmla="*/ 6866057 h 6866057"/>
              <a:gd name="connsiteX4" fmla="*/ 123 w 12201734"/>
              <a:gd name="connsiteY4" fmla="*/ 6866057 h 6866057"/>
              <a:gd name="connsiteX5" fmla="*/ 8971 w 12201734"/>
              <a:gd name="connsiteY5" fmla="*/ 3434670 h 6866057"/>
              <a:gd name="connsiteX6" fmla="*/ 5393233 w 12201734"/>
              <a:gd name="connsiteY6" fmla="*/ 3434901 h 6866057"/>
              <a:gd name="connsiteX7" fmla="*/ 5395117 w 12201734"/>
              <a:gd name="connsiteY7" fmla="*/ 3811834 h 6866057"/>
              <a:gd name="connsiteX8" fmla="*/ 5016552 w 12201734"/>
              <a:gd name="connsiteY8" fmla="*/ 3810876 h 6866057"/>
              <a:gd name="connsiteX0" fmla="*/ 5011901 w 12197083"/>
              <a:gd name="connsiteY0" fmla="*/ 3810876 h 6866057"/>
              <a:gd name="connsiteX1" fmla="*/ 5016284 w 12197083"/>
              <a:gd name="connsiteY1" fmla="*/ 2447 h 6866057"/>
              <a:gd name="connsiteX2" fmla="*/ 12197083 w 12197083"/>
              <a:gd name="connsiteY2" fmla="*/ 0 h 6866057"/>
              <a:gd name="connsiteX3" fmla="*/ 12196924 w 12197083"/>
              <a:gd name="connsiteY3" fmla="*/ 6866057 h 6866057"/>
              <a:gd name="connsiteX4" fmla="*/ 198 w 12197083"/>
              <a:gd name="connsiteY4" fmla="*/ 6866057 h 6866057"/>
              <a:gd name="connsiteX5" fmla="*/ 4320 w 12197083"/>
              <a:gd name="connsiteY5" fmla="*/ 3434670 h 6866057"/>
              <a:gd name="connsiteX6" fmla="*/ 5388582 w 12197083"/>
              <a:gd name="connsiteY6" fmla="*/ 3434901 h 6866057"/>
              <a:gd name="connsiteX7" fmla="*/ 5390466 w 12197083"/>
              <a:gd name="connsiteY7" fmla="*/ 3811834 h 6866057"/>
              <a:gd name="connsiteX8" fmla="*/ 5011901 w 12197083"/>
              <a:gd name="connsiteY8" fmla="*/ 3810876 h 6866057"/>
              <a:gd name="connsiteX0" fmla="*/ 5007581 w 12192763"/>
              <a:gd name="connsiteY0" fmla="*/ 3810876 h 6866057"/>
              <a:gd name="connsiteX1" fmla="*/ 5011964 w 12192763"/>
              <a:gd name="connsiteY1" fmla="*/ 2447 h 6866057"/>
              <a:gd name="connsiteX2" fmla="*/ 12192763 w 12192763"/>
              <a:gd name="connsiteY2" fmla="*/ 0 h 6866057"/>
              <a:gd name="connsiteX3" fmla="*/ 12192604 w 12192763"/>
              <a:gd name="connsiteY3" fmla="*/ 6866057 h 6866057"/>
              <a:gd name="connsiteX4" fmla="*/ 604 w 12192763"/>
              <a:gd name="connsiteY4" fmla="*/ 6866057 h 6866057"/>
              <a:gd name="connsiteX5" fmla="*/ 0 w 12192763"/>
              <a:gd name="connsiteY5" fmla="*/ 3434670 h 6866057"/>
              <a:gd name="connsiteX6" fmla="*/ 5384262 w 12192763"/>
              <a:gd name="connsiteY6" fmla="*/ 3434901 h 6866057"/>
              <a:gd name="connsiteX7" fmla="*/ 5386146 w 12192763"/>
              <a:gd name="connsiteY7" fmla="*/ 3811834 h 6866057"/>
              <a:gd name="connsiteX8" fmla="*/ 5007581 w 12192763"/>
              <a:gd name="connsiteY8" fmla="*/ 3810876 h 6866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763" h="6866057">
                <a:moveTo>
                  <a:pt x="5007581" y="3810876"/>
                </a:moveTo>
                <a:cubicBezTo>
                  <a:pt x="5009026" y="2561340"/>
                  <a:pt x="5010519" y="1251983"/>
                  <a:pt x="5011964" y="2447"/>
                </a:cubicBezTo>
                <a:lnTo>
                  <a:pt x="12192763" y="0"/>
                </a:lnTo>
                <a:cubicBezTo>
                  <a:pt x="12192356" y="2286000"/>
                  <a:pt x="12193011" y="4580057"/>
                  <a:pt x="12192604" y="6866057"/>
                </a:cubicBezTo>
                <a:lnTo>
                  <a:pt x="604" y="6866057"/>
                </a:lnTo>
                <a:cubicBezTo>
                  <a:pt x="-841" y="5826703"/>
                  <a:pt x="1445" y="4474024"/>
                  <a:pt x="0" y="3434670"/>
                </a:cubicBezTo>
                <a:lnTo>
                  <a:pt x="5384262" y="3434901"/>
                </a:lnTo>
                <a:lnTo>
                  <a:pt x="5386146" y="3811834"/>
                </a:lnTo>
                <a:lnTo>
                  <a:pt x="5007581" y="38108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7825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DA13F96-9EC4-6448-A502-7404EB3B6B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F450845-6306-BE4C-931F-3C003D58AE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5" y="331481"/>
            <a:ext cx="4317005" cy="1243158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F9E36FFE-12C5-2940-8E67-2313E33B5D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7825" y="1925638"/>
            <a:ext cx="4317005" cy="1131461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53504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2FACF5-A60D-44FC-A578-FD005792C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8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F58283-0844-453D-BCD6-1587B2F3A93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7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4229EF1-E5AB-4685-BF30-7C661BA29DC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7"/>
            <a:ext cx="3607594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A3C27A5D-DD5B-4B26-8694-C351241864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CB5ADA0-6586-4295-B13C-028F6B90D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FA548A15-BC0E-4DF0-B687-9D354435E9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9F0AB7C5-DB73-45D4-BEC0-1B457E32A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9E19611-91D6-4587-B005-E098829F9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BDC574B3-BC65-4942-B2C0-BA68377AAF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62B81B6D-77A0-4A0F-B6AD-3D115830D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AC54BC1-76A0-424D-B758-E279F219B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714F1D8A-727D-469C-B4AF-9AC0B0852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EA1CC7D4-5BE7-449E-8B05-1364C60C6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B70EE28E-6303-4AD2-A061-399D86A81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A8F0C7B0-5A44-4AE9-90A4-43EDBA9785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4DC34B3D-7448-4AB9-BC7F-C508BEDD5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473BD83B-97F7-415D-A24C-BD19291415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401C6058-3FF3-4BCE-97E8-0CEAD7513D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19">
              <a:extLst>
                <a:ext uri="{FF2B5EF4-FFF2-40B4-BE49-F238E27FC236}">
                  <a16:creationId xmlns:a16="http://schemas.microsoft.com/office/drawing/2014/main" id="{F55C8962-B5B5-4E45-A97A-46A6D06F3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0C08D37D-1447-45BA-BF6D-3F56956BC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7D6614D7-4F48-49FE-9DB1-928C33F67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271F400-7CB0-4AA2-B348-C438A6D7983C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387692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8"/>
            <a:ext cx="252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7"/>
            <a:ext cx="252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7"/>
            <a:ext cx="252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6"/>
            <a:ext cx="2520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1036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8"/>
            <a:ext cx="2034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7"/>
            <a:ext cx="2034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7"/>
            <a:ext cx="2034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6"/>
            <a:ext cx="2034000" cy="41322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8" y="192563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50" y="192563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2" y="1925629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58585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278187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278187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278187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278187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9145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8"/>
            <a:ext cx="5488744" cy="1766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/>
        </p:nvCxnSpPr>
        <p:spPr>
          <a:xfrm>
            <a:off x="6096000" y="1925638"/>
            <a:ext cx="0" cy="41322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/>
        </p:nvCxnSpPr>
        <p:spPr>
          <a:xfrm>
            <a:off x="6325431" y="4006549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/>
        </p:nvCxnSpPr>
        <p:spPr>
          <a:xfrm>
            <a:off x="377824" y="4006549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291294"/>
            <a:ext cx="5488744" cy="1766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9"/>
            <a:ext cx="5488744" cy="1766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291295"/>
            <a:ext cx="5488744" cy="1766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D3C81E0-F994-44CE-B9EA-0E8653797ABA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1322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7AAEC7D-AEAB-4E76-80B9-AB05776FF972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006549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0E92146-BE58-4AF4-AE88-B0F56C5DDDF3}"/>
              </a:ext>
            </a:extLst>
          </p:cNvPr>
          <p:cNvCxnSpPr>
            <a:cxnSpLocks/>
          </p:cNvCxnSpPr>
          <p:nvPr userDrawn="1"/>
        </p:nvCxnSpPr>
        <p:spPr>
          <a:xfrm>
            <a:off x="377824" y="4006549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671207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6759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6759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6759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6759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41168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07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07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07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1216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2445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5391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20352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4F0E1B7-F6EA-4B56-A622-23EE770F80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4" y="-3332"/>
            <a:ext cx="12192763" cy="6863993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4587036 w 12192632"/>
              <a:gd name="connsiteY0" fmla="*/ 4044698 h 6861331"/>
              <a:gd name="connsiteX1" fmla="*/ 5186551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4587036 w 12192632"/>
              <a:gd name="connsiteY0" fmla="*/ 40446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  <a:gd name="connsiteX0" fmla="*/ 5070512 w 12192632"/>
              <a:gd name="connsiteY0" fmla="*/ 342458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5070512 w 12192632"/>
              <a:gd name="connsiteY6" fmla="*/ 3424588 h 6861331"/>
              <a:gd name="connsiteX0" fmla="*/ 5007450 w 12192632"/>
              <a:gd name="connsiteY0" fmla="*/ 34350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5007450 w 12192632"/>
              <a:gd name="connsiteY6" fmla="*/ 3435098 h 6861331"/>
              <a:gd name="connsiteX0" fmla="*/ 5007450 w 12192632"/>
              <a:gd name="connsiteY0" fmla="*/ 3435098 h 6861331"/>
              <a:gd name="connsiteX1" fmla="*/ 5007875 w 12192632"/>
              <a:gd name="connsiteY1" fmla="*/ 13416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3434670 h 6861331"/>
              <a:gd name="connsiteX6" fmla="*/ 5007450 w 12192632"/>
              <a:gd name="connsiteY6" fmla="*/ 3435098 h 6861331"/>
              <a:gd name="connsiteX0" fmla="*/ 5017913 w 12203095"/>
              <a:gd name="connsiteY0" fmla="*/ 3435098 h 6861331"/>
              <a:gd name="connsiteX1" fmla="*/ 5018338 w 12203095"/>
              <a:gd name="connsiteY1" fmla="*/ 13416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017913 w 12203095"/>
              <a:gd name="connsiteY6" fmla="*/ 3435098 h 6861331"/>
              <a:gd name="connsiteX0" fmla="*/ 5017913 w 12203095"/>
              <a:gd name="connsiteY0" fmla="*/ 3435098 h 6861331"/>
              <a:gd name="connsiteX1" fmla="*/ 5018338 w 12203095"/>
              <a:gd name="connsiteY1" fmla="*/ 5499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017913 w 12203095"/>
              <a:gd name="connsiteY6" fmla="*/ 3435098 h 6861331"/>
              <a:gd name="connsiteX0" fmla="*/ 5017913 w 12203095"/>
              <a:gd name="connsiteY0" fmla="*/ 3435098 h 6861331"/>
              <a:gd name="connsiteX1" fmla="*/ 5018338 w 12203095"/>
              <a:gd name="connsiteY1" fmla="*/ 1541 h 6861331"/>
              <a:gd name="connsiteX2" fmla="*/ 12203095 w 12203095"/>
              <a:gd name="connsiteY2" fmla="*/ 0 h 6861331"/>
              <a:gd name="connsiteX3" fmla="*/ 12202936 w 12203095"/>
              <a:gd name="connsiteY3" fmla="*/ 6861331 h 6861331"/>
              <a:gd name="connsiteX4" fmla="*/ 10936 w 12203095"/>
              <a:gd name="connsiteY4" fmla="*/ 6861331 h 6861331"/>
              <a:gd name="connsiteX5" fmla="*/ 0 w 12203095"/>
              <a:gd name="connsiteY5" fmla="*/ 3434670 h 6861331"/>
              <a:gd name="connsiteX6" fmla="*/ 5017913 w 12203095"/>
              <a:gd name="connsiteY6" fmla="*/ 3435098 h 6861331"/>
              <a:gd name="connsiteX0" fmla="*/ 5007581 w 12192763"/>
              <a:gd name="connsiteY0" fmla="*/ 3435098 h 6861331"/>
              <a:gd name="connsiteX1" fmla="*/ 5008006 w 12192763"/>
              <a:gd name="connsiteY1" fmla="*/ 1541 h 6861331"/>
              <a:gd name="connsiteX2" fmla="*/ 12192763 w 12192763"/>
              <a:gd name="connsiteY2" fmla="*/ 0 h 6861331"/>
              <a:gd name="connsiteX3" fmla="*/ 12192604 w 12192763"/>
              <a:gd name="connsiteY3" fmla="*/ 6861331 h 6861331"/>
              <a:gd name="connsiteX4" fmla="*/ 604 w 12192763"/>
              <a:gd name="connsiteY4" fmla="*/ 6861331 h 6861331"/>
              <a:gd name="connsiteX5" fmla="*/ 0 w 12192763"/>
              <a:gd name="connsiteY5" fmla="*/ 3434670 h 6861331"/>
              <a:gd name="connsiteX6" fmla="*/ 5007581 w 12192763"/>
              <a:gd name="connsiteY6" fmla="*/ 3435098 h 6861331"/>
              <a:gd name="connsiteX0" fmla="*/ 5007581 w 12192763"/>
              <a:gd name="connsiteY0" fmla="*/ 3435098 h 6863993"/>
              <a:gd name="connsiteX1" fmla="*/ 5008006 w 12192763"/>
              <a:gd name="connsiteY1" fmla="*/ 1541 h 6863993"/>
              <a:gd name="connsiteX2" fmla="*/ 12192763 w 12192763"/>
              <a:gd name="connsiteY2" fmla="*/ 0 h 6863993"/>
              <a:gd name="connsiteX3" fmla="*/ 12192604 w 12192763"/>
              <a:gd name="connsiteY3" fmla="*/ 6861331 h 6863993"/>
              <a:gd name="connsiteX4" fmla="*/ 604 w 12192763"/>
              <a:gd name="connsiteY4" fmla="*/ 6863993 h 6863993"/>
              <a:gd name="connsiteX5" fmla="*/ 0 w 12192763"/>
              <a:gd name="connsiteY5" fmla="*/ 3434670 h 6863993"/>
              <a:gd name="connsiteX6" fmla="*/ 5007581 w 12192763"/>
              <a:gd name="connsiteY6" fmla="*/ 3435098 h 6863993"/>
              <a:gd name="connsiteX0" fmla="*/ 5007581 w 12192763"/>
              <a:gd name="connsiteY0" fmla="*/ 3435098 h 6863993"/>
              <a:gd name="connsiteX1" fmla="*/ 5008006 w 12192763"/>
              <a:gd name="connsiteY1" fmla="*/ 1541 h 6863993"/>
              <a:gd name="connsiteX2" fmla="*/ 12192763 w 12192763"/>
              <a:gd name="connsiteY2" fmla="*/ 0 h 6863993"/>
              <a:gd name="connsiteX3" fmla="*/ 12192604 w 12192763"/>
              <a:gd name="connsiteY3" fmla="*/ 6863993 h 6863993"/>
              <a:gd name="connsiteX4" fmla="*/ 604 w 12192763"/>
              <a:gd name="connsiteY4" fmla="*/ 6863993 h 6863993"/>
              <a:gd name="connsiteX5" fmla="*/ 0 w 12192763"/>
              <a:gd name="connsiteY5" fmla="*/ 3434670 h 6863993"/>
              <a:gd name="connsiteX6" fmla="*/ 5007581 w 12192763"/>
              <a:gd name="connsiteY6" fmla="*/ 3435098 h 68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763" h="6863993">
                <a:moveTo>
                  <a:pt x="5007581" y="3435098"/>
                </a:moveTo>
                <a:cubicBezTo>
                  <a:pt x="5009026" y="2185562"/>
                  <a:pt x="5006561" y="1251077"/>
                  <a:pt x="5008006" y="1541"/>
                </a:cubicBezTo>
                <a:lnTo>
                  <a:pt x="12192763" y="0"/>
                </a:lnTo>
                <a:cubicBezTo>
                  <a:pt x="12192356" y="2286000"/>
                  <a:pt x="12193011" y="4577993"/>
                  <a:pt x="12192604" y="6863993"/>
                </a:cubicBezTo>
                <a:lnTo>
                  <a:pt x="604" y="6863993"/>
                </a:lnTo>
                <a:cubicBezTo>
                  <a:pt x="-841" y="5824639"/>
                  <a:pt x="1445" y="4474024"/>
                  <a:pt x="0" y="3434670"/>
                </a:cubicBezTo>
                <a:lnTo>
                  <a:pt x="5007581" y="34350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7825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DA13F96-9EC4-6448-A502-7404EB3B6B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F450845-6306-BE4C-931F-3C003D58AE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5" y="331481"/>
            <a:ext cx="4317005" cy="1243158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F9E36FFE-12C5-2940-8E67-2313E33B5D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7825" y="1925638"/>
            <a:ext cx="4317005" cy="1131461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0407828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27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x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377825"/>
            <a:ext cx="5718175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0" y="1925636"/>
            <a:ext cx="5718175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3A664E-59DC-40BA-ACF6-BD40A3C20418}"/>
              </a:ext>
            </a:extLst>
          </p:cNvPr>
          <p:cNvCxnSpPr>
            <a:cxnSpLocks/>
          </p:cNvCxnSpPr>
          <p:nvPr/>
        </p:nvCxnSpPr>
        <p:spPr>
          <a:xfrm>
            <a:off x="6096000" y="1227932"/>
            <a:ext cx="57181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8CC8875-8D26-418B-937D-72C5CEF65B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27474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8C4B87CC-DF04-4C9E-B408-09B9AA0087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0000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B4C21B3-10D9-4CF1-850E-EEB787F301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27474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F1AF673-EA7C-4501-B4B1-2DB89AA0D9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5ADD8CC-40D0-46F0-80B0-6902EE99671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27474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5783A504-44F0-4BE2-A4F2-2B71740736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68B8A84F-BACF-46F5-BF3D-0EAAFFC2CE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4C18E5A0-60B3-4D88-A3A4-77B9DF675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B851E26F-3EDB-4FD0-830D-BC31F48A8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81E8069-7309-46A6-8570-7BADCE4E8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20EA0A4E-D76E-4BDD-ABC8-5D8990550A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4087FBCF-9CBC-4658-A941-580D250AB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6643B7AA-8282-43D2-A143-5D4C7690F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AE1B7394-FC4B-4891-A743-1B29B78DC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2398F251-777D-4557-AF48-C3C406AC0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4">
              <a:extLst>
                <a:ext uri="{FF2B5EF4-FFF2-40B4-BE49-F238E27FC236}">
                  <a16:creationId xmlns:a16="http://schemas.microsoft.com/office/drawing/2014/main" id="{7F756EBA-586C-44DA-974B-EEC62CF13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A3674FA0-A802-420D-903A-95C9F4887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3DCF30F9-ACE8-466B-8104-AD825BF63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9C3CF83C-3B2D-4AD0-80AB-C101364CE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9870F778-3102-4B89-992E-5FA8129720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19">
              <a:extLst>
                <a:ext uri="{FF2B5EF4-FFF2-40B4-BE49-F238E27FC236}">
                  <a16:creationId xmlns:a16="http://schemas.microsoft.com/office/drawing/2014/main" id="{47D3B4B8-482B-4B1E-BD23-E1C57F155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8D1369CB-C8E0-4CFC-B64B-E610DB9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84A786D0-0C64-4477-8795-16D1D56EA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69ECA5B-0716-4EAF-AE32-0CDC78E719D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27932"/>
            <a:ext cx="57181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86742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rrow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2600" y="377825"/>
            <a:ext cx="7521575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92600" y="1925636"/>
            <a:ext cx="7521575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986213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3A664E-59DC-40BA-ACF6-BD40A3C20418}"/>
              </a:ext>
            </a:extLst>
          </p:cNvPr>
          <p:cNvCxnSpPr>
            <a:cxnSpLocks/>
          </p:cNvCxnSpPr>
          <p:nvPr/>
        </p:nvCxnSpPr>
        <p:spPr>
          <a:xfrm>
            <a:off x="4292600" y="1227932"/>
            <a:ext cx="75215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4FD57A95-08FB-4A26-9C1A-7726B7C880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23694A7-B48C-4A8F-A9A5-792FD6CA50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6483301E-9D5E-4D39-B4C8-EF506D1583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CEE16F5-98F8-4C70-B5C6-242CD2E7F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37FF928D-C1C8-45AD-98EE-B72BF8A7C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B36A5DE-3FDA-4EA4-A9B1-070F33E55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340F3418-39C6-49CF-8792-8AE09927A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1799B70E-B1C7-449F-B701-721615EF7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2FB3EAE-B419-4980-A02C-9444B1503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9C63A066-3072-4FCE-B6D6-C2A8F2983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14">
              <a:extLst>
                <a:ext uri="{FF2B5EF4-FFF2-40B4-BE49-F238E27FC236}">
                  <a16:creationId xmlns:a16="http://schemas.microsoft.com/office/drawing/2014/main" id="{087FFFE0-9247-4016-8EEF-E214DD187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42D12191-F6F0-433D-A8FB-DBB887AA3B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1C6F2D1-BF8D-4EAE-99CD-F1529C9D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08AAEA8E-7C10-477E-ACD2-C42BA50C9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8A109474-4C60-49DF-8D34-0B065191D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A3A53E32-C601-4643-922C-3CDF78523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1B881CC-48AD-4398-AA36-6C69FA302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21D9A1F2-3E88-40A2-9B44-AD11B31C30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79B2EE7-808B-4796-90E5-F057E255BBED}"/>
              </a:ext>
            </a:extLst>
          </p:cNvPr>
          <p:cNvCxnSpPr>
            <a:cxnSpLocks/>
          </p:cNvCxnSpPr>
          <p:nvPr userDrawn="1"/>
        </p:nvCxnSpPr>
        <p:spPr>
          <a:xfrm>
            <a:off x="4292600" y="1227932"/>
            <a:ext cx="75215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5722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6399" y="377825"/>
            <a:ext cx="5157775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56399" y="1925636"/>
            <a:ext cx="5157775" cy="4132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3A664E-59DC-40BA-ACF6-BD40A3C20418}"/>
              </a:ext>
            </a:extLst>
          </p:cNvPr>
          <p:cNvCxnSpPr>
            <a:cxnSpLocks/>
          </p:cNvCxnSpPr>
          <p:nvPr/>
        </p:nvCxnSpPr>
        <p:spPr>
          <a:xfrm>
            <a:off x="6656400" y="1227932"/>
            <a:ext cx="51577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06FBCCFA-E8BA-4080-860C-C8A869D461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A7CAE9E-5FA3-43C7-B6B1-C86A9771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49AFB9D8-CF44-4060-8E70-2A037A9FDE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0667768-9A2D-4AEA-98B2-F15DD7178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AD92B0B-38FF-4C68-A931-97704A6BB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9FBE04-E27D-4320-A27E-FB47810C1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84639B75-22C6-48B0-908B-99F6C31AC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56219519-79C3-4B78-97A3-FD949D343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04E962BC-0EE0-47D2-9599-4FF6F1004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D0BB3B-DA18-4C96-89CF-F3DCC63CB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14">
              <a:extLst>
                <a:ext uri="{FF2B5EF4-FFF2-40B4-BE49-F238E27FC236}">
                  <a16:creationId xmlns:a16="http://schemas.microsoft.com/office/drawing/2014/main" id="{3E6C56F0-3BC1-4F5F-AFAD-1A3360059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3663E8CC-9675-4B15-B446-49457D6A28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547EB31E-2A49-41EE-8475-963A0043A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3C6496A5-9DDC-48B2-BAF0-AB71BCC89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B1A0CCF4-8CAB-4CAA-A70F-EEB30E7DD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746E11D3-0250-4A26-B876-84C53CD46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1032B4B5-2E6A-4317-B1F0-DC9951C71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BC4B1916-86B6-4A57-8F17-391AF213A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DCA9EFF-0200-411A-BADE-38AD75699DD4}"/>
              </a:ext>
            </a:extLst>
          </p:cNvPr>
          <p:cNvCxnSpPr>
            <a:cxnSpLocks/>
          </p:cNvCxnSpPr>
          <p:nvPr userDrawn="1"/>
        </p:nvCxnSpPr>
        <p:spPr>
          <a:xfrm>
            <a:off x="6656400" y="1227932"/>
            <a:ext cx="5157775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0481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3AD2A94-A3CC-4919-80F8-B31D82E970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09E664A8-B1BD-4531-AA3A-81282FA81B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2F39BE34-A6EE-43B5-8FA6-95326081C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D42620B1-DA8D-42C8-8AA4-6343F6890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ADEE2FB-5D78-43BC-B536-70A58FCAE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45F79048-33DA-4EEB-AFCF-9D29D4722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35E6B8FE-6742-4D47-AC66-9AA635839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0C1DF81C-5FB7-40B4-9975-66CA5D135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8B7B865A-F8B6-48FA-893F-F368274D7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76662556-5736-4BCD-AE76-6D4B5118E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974330FA-B8CF-4769-9C3F-83A5C1F178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53E311D5-8AD4-4592-A9AA-EFC13ED02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B64DA069-BC3C-4B98-84F7-A8AE5E471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1D7C7BF3-B8B7-43B8-97B5-C37ACB23A8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96A232B0-5BC0-4D4A-8845-AF912D89A5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19">
              <a:extLst>
                <a:ext uri="{FF2B5EF4-FFF2-40B4-BE49-F238E27FC236}">
                  <a16:creationId xmlns:a16="http://schemas.microsoft.com/office/drawing/2014/main" id="{38B92351-7C94-4407-BCD8-30782F0955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415B60-2C77-4C41-8BF4-9CC26549E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5EC284BC-D94A-44A0-A604-63CF229ED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2532817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FA8F7E4E-C767-43A1-BAF7-8E8AE89AD9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6C268F1-3C35-46E8-8066-BD8784BC4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66CC7FD4-33D8-4211-81B0-2DAE66991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6982599-E35E-45CA-B6F8-171BB845A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CAAD3B0E-3156-41DD-BCDE-640803FAC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5E7B899F-FF4B-461F-B45F-AECE6289E6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66A98A57-82B0-4738-A319-70E7EB234A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BDE251D-7F76-48D1-964D-F703F3742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83B53EEA-6F3A-4036-9972-A3D862EDA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457DC9C3-4EE1-44EE-93FF-E4F5DC7F3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5E9CFE22-AF8D-4E72-9EDC-224A4BE90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C8233D01-FEDD-444C-9969-6B1A7E4B2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9E07AE27-7881-48AF-AA8D-CCCBDA203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494E017C-9427-4951-9752-B75D60FC2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9D0852CF-415F-4BC1-9B76-CB26E5A59D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19">
              <a:extLst>
                <a:ext uri="{FF2B5EF4-FFF2-40B4-BE49-F238E27FC236}">
                  <a16:creationId xmlns:a16="http://schemas.microsoft.com/office/drawing/2014/main" id="{78F90199-DD10-4B36-8EEC-7789F3831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FCF48EF9-D308-4303-9B7C-1A7075B77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94DE4FC1-52EB-4552-86AB-940E8D9A17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225071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A95C115B-8DD7-4020-AA7D-234078E904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98761712-2271-44D7-B201-BE269E729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C58583D0-D647-4350-B5EB-77E9CBDF76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67602D48-9F6C-4C74-B535-6A154C253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43F341F1-3DF9-4CA0-ACFC-990ABE719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307038-0F05-41A0-951F-46AFB8C7A8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B6C6F9BD-240D-41BE-B647-911B4500B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81DB064-6CDD-4BFD-BCAA-41B374D8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2301085-FBAF-4274-B1CB-E0E03C993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98643FD3-FA7A-4765-81A9-4595A5257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07F38D17-ACE1-45EB-A71D-57A90944F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B9D5C41F-F02F-4378-A468-616340AC38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2CD040D2-BA29-4CC0-BA32-A1E9DEED8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D72F3990-8D37-4B2F-87CC-46EF3BB5D4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8138F9FE-D2FB-4E39-A34E-A0487A944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19">
              <a:extLst>
                <a:ext uri="{FF2B5EF4-FFF2-40B4-BE49-F238E27FC236}">
                  <a16:creationId xmlns:a16="http://schemas.microsoft.com/office/drawing/2014/main" id="{1B55CA60-9E80-4281-BDFB-4A1EEA378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20D41F25-ADDB-484F-99B7-374026A6F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580158ED-7CCC-4002-9FF8-DD3E1B558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9506377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anchor="ctr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CB2F867-80D5-4072-B066-D1FABDA98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75C83-E75A-4761-ABDB-78F33525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6F4E22-A15E-451C-BD46-064AFF4BC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751B2E0B-3747-4885-8170-0DD94A737C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1CD9A9E-E5E3-426C-8D0A-B70972C90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93392176-AB28-4875-ABD9-0642000E26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A77BDFE-6047-40DD-B682-79F785650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899D0E0-C29A-4CA2-9689-506EB26C6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B6A437B-417A-4FB3-81DE-95395F93A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314D1E00-295D-4ECA-B7C4-4085A1C21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1DB8EF0-ADCF-4BEF-8A1D-41A83A55F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C539E4AE-88A8-40F1-B3B9-4DB822062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18F4B1E6-0632-4E39-9A7F-CDEBA976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AF5A149B-B8CA-40B5-AA2A-D796D453E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9D24ECAF-EDB5-4FDE-952E-4D2E3514B4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C1A9B565-9E1F-4BCF-9114-EE019E632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9E6BB42B-A461-46A8-AF8B-CBD8284F8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0637DDD-CDF3-4BE2-B05C-5FAB49BD1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19">
              <a:extLst>
                <a:ext uri="{FF2B5EF4-FFF2-40B4-BE49-F238E27FC236}">
                  <a16:creationId xmlns:a16="http://schemas.microsoft.com/office/drawing/2014/main" id="{1AD45D21-2963-48B8-9CDF-950064BC96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729A4899-A915-4622-A324-D804BC27B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3C13B35B-F63D-42F1-BCC7-CBC7C4229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1530453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0579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0B42C7-DCFF-4F4E-A97A-71EE05490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5D11F-FD96-47DA-A915-74520DF810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4C3B1-C6F3-47F5-BA77-FFE7372DA8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031D4F7-80FF-4EB6-8C52-7ACCA73FE3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C0C3007-B8FC-49F9-A408-66DB003ECC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737358E6-0915-43EE-BF27-F84D9F544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75D48EAE-89C8-40CB-8C7A-76B2230D3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EB867BE1-1E30-47DF-9C4F-0F8EC1819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BDF4298-1717-4FB2-A72F-64545413A3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1F013084-F88F-4847-A1CF-6E0FB11F1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0AC6308E-83F7-484C-98B4-67FA52717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807FC56E-5FFE-4257-A294-C73821743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7CB76062-41A8-4DA8-BFBC-2E0283292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14">
              <a:extLst>
                <a:ext uri="{FF2B5EF4-FFF2-40B4-BE49-F238E27FC236}">
                  <a16:creationId xmlns:a16="http://schemas.microsoft.com/office/drawing/2014/main" id="{3B43262C-A07B-4416-BA5A-1830FEA9E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140085A4-6E46-452D-8C3D-E10C07520C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026A0BD9-2D97-4214-A6C7-ED2961474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A6C08A45-2B65-48DB-9E00-0F0B69C10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DEAF8EA7-ADDE-446E-B803-27D16F34CF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D74763EA-4DA7-4A04-9335-3469668F10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3C861A25-77AD-4A0B-B81D-E4CB876F1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8FAEDB43-B183-4AB2-B37E-9D982DE40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4185775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6731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99D0098-87B4-4DED-9DA5-AD58D81E0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5E86F-6198-45AB-BCDD-FC6699753B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2BF005-0053-4482-9A86-685DBCA59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CCFF460D-E535-47AF-82CC-9964E0B16D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8044A829-71C1-499B-8A92-5B6394B9AE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id="{81AAC3BF-94AF-4881-B2A7-B7F5D2C8E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BC9F1E5A-0B54-4843-8AF9-7E194C2F9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38800682-02E6-41D3-B1A4-506C0853D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9464674-0B33-4C11-98B0-232A3513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F4CFBB59-BE76-418D-B7F2-A4033D55A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85E65797-AB1B-4B91-BF4D-62E965DBE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4DB3C6CB-007B-4C79-9D46-75B0C6F62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6AA1A75D-CC8D-4A3F-9C94-1DC97D9C4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9FF37258-4A15-4DDB-910A-17253AB19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854E0731-112F-4630-B4AB-3D3FA9CDB6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B44BCE08-88A8-4A6A-9038-FE50D36D7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21B07A99-FC80-45AF-BD71-3CD22177D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893BBC8B-F14D-47D0-9389-A4BF9C9BD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19">
              <a:extLst>
                <a:ext uri="{FF2B5EF4-FFF2-40B4-BE49-F238E27FC236}">
                  <a16:creationId xmlns:a16="http://schemas.microsoft.com/office/drawing/2014/main" id="{79C0A3AB-E752-4D9B-A186-A9DEF5FE2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B875BCD9-C90B-462E-815B-B8F6C107C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D3C3970B-0D67-4F58-A822-9E3F03742E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297939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0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0" y="3780000"/>
            <a:ext cx="4932729" cy="16799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 b="0"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EEF6460A-0D6A-4327-B2BE-0C9712B6A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49D3C08-5CC1-4098-8B8E-914BB34B61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CD1EA3F-E357-4AD9-9CE2-D1FD206A90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27474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0447BAF-8359-4A21-89C7-6B2FF2FBD7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0000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00F93BD-FB5F-4CF5-8A8E-48893055A0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27474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F4393C47-4AA9-48E1-B379-92891715B0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DB0B40F-9F70-4D1C-A539-9021055EF9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27474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932FBA9-44C2-40B6-B435-7915BEC00EC2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</p:grpSpPr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1CF5B28D-1DE1-470B-8D8F-FDB0CA198F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E8ED0B9A-1D29-4548-9970-BCDFA9C1A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043A627E-4A32-4442-8037-092D14477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F3E8129E-98B5-484F-B245-64E39BAE1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186A6AE1-0E4C-4606-A497-0576E6232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F6B25F3F-029A-447E-B32A-BCF282B8A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0">
              <a:extLst>
                <a:ext uri="{FF2B5EF4-FFF2-40B4-BE49-F238E27FC236}">
                  <a16:creationId xmlns:a16="http://schemas.microsoft.com/office/drawing/2014/main" id="{67E79B53-AF14-431C-AEAC-E38B35E7C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485255AD-E3EA-4FFC-A4AC-5E25E7855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2">
              <a:extLst>
                <a:ext uri="{FF2B5EF4-FFF2-40B4-BE49-F238E27FC236}">
                  <a16:creationId xmlns:a16="http://schemas.microsoft.com/office/drawing/2014/main" id="{5EAD3DE8-206C-4A21-B550-C7BD1A8AC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72EF09A0-DDAA-4F33-BCB0-F971B6AD1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">
              <a:extLst>
                <a:ext uri="{FF2B5EF4-FFF2-40B4-BE49-F238E27FC236}">
                  <a16:creationId xmlns:a16="http://schemas.microsoft.com/office/drawing/2014/main" id="{8282661C-684F-4234-A8BE-73E23F60E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5">
              <a:extLst>
                <a:ext uri="{FF2B5EF4-FFF2-40B4-BE49-F238E27FC236}">
                  <a16:creationId xmlns:a16="http://schemas.microsoft.com/office/drawing/2014/main" id="{9674F6E1-6CC8-46D9-8D7C-477ECBCB4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6">
              <a:extLst>
                <a:ext uri="{FF2B5EF4-FFF2-40B4-BE49-F238E27FC236}">
                  <a16:creationId xmlns:a16="http://schemas.microsoft.com/office/drawing/2014/main" id="{8746700C-ED8F-47AC-9877-3F1C16EB0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7">
              <a:extLst>
                <a:ext uri="{FF2B5EF4-FFF2-40B4-BE49-F238E27FC236}">
                  <a16:creationId xmlns:a16="http://schemas.microsoft.com/office/drawing/2014/main" id="{2FAFC101-817D-472D-9C8C-AD4B8F5BE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8">
              <a:extLst>
                <a:ext uri="{FF2B5EF4-FFF2-40B4-BE49-F238E27FC236}">
                  <a16:creationId xmlns:a16="http://schemas.microsoft.com/office/drawing/2014/main" id="{A874C753-59DE-462B-8C97-E1A0183DB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9">
              <a:extLst>
                <a:ext uri="{FF2B5EF4-FFF2-40B4-BE49-F238E27FC236}">
                  <a16:creationId xmlns:a16="http://schemas.microsoft.com/office/drawing/2014/main" id="{E421ADB6-7B78-40BC-B022-21B315E9CF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20">
              <a:extLst>
                <a:ext uri="{FF2B5EF4-FFF2-40B4-BE49-F238E27FC236}">
                  <a16:creationId xmlns:a16="http://schemas.microsoft.com/office/drawing/2014/main" id="{53A2ED48-699D-40EE-967E-F5075620E5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21">
              <a:extLst>
                <a:ext uri="{FF2B5EF4-FFF2-40B4-BE49-F238E27FC236}">
                  <a16:creationId xmlns:a16="http://schemas.microsoft.com/office/drawing/2014/main" id="{FFD356A4-64CA-43FE-9946-739DAF60C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22">
              <a:extLst>
                <a:ext uri="{FF2B5EF4-FFF2-40B4-BE49-F238E27FC236}">
                  <a16:creationId xmlns:a16="http://schemas.microsoft.com/office/drawing/2014/main" id="{C1EA4D90-4F1E-4E85-B5C1-5EE292C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23">
              <a:extLst>
                <a:ext uri="{FF2B5EF4-FFF2-40B4-BE49-F238E27FC236}">
                  <a16:creationId xmlns:a16="http://schemas.microsoft.com/office/drawing/2014/main" id="{0786CBBD-30B4-48F1-93D8-D3C901ABB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24">
              <a:extLst>
                <a:ext uri="{FF2B5EF4-FFF2-40B4-BE49-F238E27FC236}">
                  <a16:creationId xmlns:a16="http://schemas.microsoft.com/office/drawing/2014/main" id="{893D3D59-8402-44DB-984B-641B211BD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25">
              <a:extLst>
                <a:ext uri="{FF2B5EF4-FFF2-40B4-BE49-F238E27FC236}">
                  <a16:creationId xmlns:a16="http://schemas.microsoft.com/office/drawing/2014/main" id="{1E5428F8-C26F-4181-A189-2C2D3DCA09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26">
              <a:extLst>
                <a:ext uri="{FF2B5EF4-FFF2-40B4-BE49-F238E27FC236}">
                  <a16:creationId xmlns:a16="http://schemas.microsoft.com/office/drawing/2014/main" id="{CECB1BCB-2601-42B7-B6EF-7330C4104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27">
              <a:extLst>
                <a:ext uri="{FF2B5EF4-FFF2-40B4-BE49-F238E27FC236}">
                  <a16:creationId xmlns:a16="http://schemas.microsoft.com/office/drawing/2014/main" id="{F97BD5D4-1D30-4698-957B-FF56B5366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28">
              <a:extLst>
                <a:ext uri="{FF2B5EF4-FFF2-40B4-BE49-F238E27FC236}">
                  <a16:creationId xmlns:a16="http://schemas.microsoft.com/office/drawing/2014/main" id="{6C8E296D-4D0E-4E4A-96E7-FEF14F47B1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29">
              <a:extLst>
                <a:ext uri="{FF2B5EF4-FFF2-40B4-BE49-F238E27FC236}">
                  <a16:creationId xmlns:a16="http://schemas.microsoft.com/office/drawing/2014/main" id="{1CB53246-93FD-4CDE-9A93-95DB08CDD6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CAF273F6-8775-4808-8DA6-C7F0101D4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0A4FB202-B9D8-496E-A38B-8D4FF98C4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7094F455-9FB9-45E1-B839-0B144726C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33">
              <a:extLst>
                <a:ext uri="{FF2B5EF4-FFF2-40B4-BE49-F238E27FC236}">
                  <a16:creationId xmlns:a16="http://schemas.microsoft.com/office/drawing/2014/main" id="{533CD4A1-2C57-4592-9EBA-4E9F506C4C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34">
              <a:extLst>
                <a:ext uri="{FF2B5EF4-FFF2-40B4-BE49-F238E27FC236}">
                  <a16:creationId xmlns:a16="http://schemas.microsoft.com/office/drawing/2014/main" id="{4F1356FB-4043-4416-B817-4C1CCD2B8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35">
              <a:extLst>
                <a:ext uri="{FF2B5EF4-FFF2-40B4-BE49-F238E27FC236}">
                  <a16:creationId xmlns:a16="http://schemas.microsoft.com/office/drawing/2014/main" id="{5FBCF652-41B9-4D76-B83F-F2AEB1220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6">
              <a:extLst>
                <a:ext uri="{FF2B5EF4-FFF2-40B4-BE49-F238E27FC236}">
                  <a16:creationId xmlns:a16="http://schemas.microsoft.com/office/drawing/2014/main" id="{49CFE880-E12A-4785-99E0-736F58492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37">
              <a:extLst>
                <a:ext uri="{FF2B5EF4-FFF2-40B4-BE49-F238E27FC236}">
                  <a16:creationId xmlns:a16="http://schemas.microsoft.com/office/drawing/2014/main" id="{343C4FCB-C2AD-4B7C-B863-211ED709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7782367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71E62B2-11ED-4F53-987A-D7C7F8C57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744A4-A844-44EE-8999-4199B276ED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500E-998D-49D0-800E-1C1C50531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E7EB0D1D-03A3-474A-864A-33587AD5AD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DAF5015-B550-456E-9C6F-66ABCE066B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75195E24-DF0B-4A7F-98D6-CACFBAA76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A634272-A321-4520-BF17-3265AC3E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3560343-EBA8-4423-9BD7-0ECC1EB9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EF04B06-44D2-4D25-8FBB-52BFD453E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7F90B43-E2EA-49F9-A4F5-CD2D07806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35CF65CD-74B5-40CD-ACA7-C920EBEF7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4AE90E5-196C-4232-BF3A-90287B9F5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0F5DCE48-F5AF-4DCC-B194-F2A7E93DF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14">
              <a:extLst>
                <a:ext uri="{FF2B5EF4-FFF2-40B4-BE49-F238E27FC236}">
                  <a16:creationId xmlns:a16="http://schemas.microsoft.com/office/drawing/2014/main" id="{E1C01983-228A-4F6B-A3B0-10BE7D887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12E4894-A272-47E3-ACBF-BB1EBCC82E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F5AE28FB-1C95-4220-B407-C20C2E08B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3F10282E-694A-4718-835E-680EB7E45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721DC299-1C21-4BF9-884B-265F36ED29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8246F442-4746-4582-8B12-B3FF8D759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5724CAC7-406B-43EF-AA33-43CFBBBD9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8323E3D6-E04F-487D-A1FF-7D98530A3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8604794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3E7B15-B6FE-4A26-B618-7F1B832EE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32525-AB43-49B8-8347-B08BBD12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EFF27-0AA0-4416-981F-E6A4670CC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7DC51513-F934-4B2E-A4CA-C0C43E3CAC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DEBEB2D-FA0A-4073-8230-83CA7607E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E3E5F553-B57A-4A92-926F-ED14FFC2F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7AB1D79-AC84-45A9-BF62-D0FBE2C90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4212514E-C59C-4717-8002-81A2F2DD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4BFFD34-F669-44CB-9CEE-B54C3F7F6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394C6BCF-54A3-42A5-A6A8-6A7A332EDA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7691AED-E133-4DC8-AA15-90B4BDF7F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2F6B1AED-5BE3-4260-9016-1A3FE8C3C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8B8B7DF1-382D-4EB4-AAD5-0337DB60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A9740CAD-88E9-4DA4-B8CC-6D3047EB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EEF50DA-ACC2-4866-9124-239372780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F8341A8D-611F-48C3-8FC4-2BD2480C7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120F218C-DC7E-4E00-9AFD-13686AC2D3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C7063197-A17F-4683-B4FF-99451CEE33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19">
              <a:extLst>
                <a:ext uri="{FF2B5EF4-FFF2-40B4-BE49-F238E27FC236}">
                  <a16:creationId xmlns:a16="http://schemas.microsoft.com/office/drawing/2014/main" id="{013B09E9-EBAC-4F12-84E0-286649E168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C4C811EA-8214-4F21-AFB0-17D962787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A7EF58DF-F2F7-4DB6-9A32-D7AD7F5C2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489744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4590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A5D602-19E5-4AD7-A798-9ABA97C87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2A05-C8DE-4BB6-A2EE-0A5AA8C5D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3DA65-402A-4130-BFAD-85ADF5B74F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552C733D-73C6-4627-A342-24B76595F5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DAEDDA5-7C1F-4623-9E63-6681B9E39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id="{4BD4F734-1443-4667-8154-D66082113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633A958-5E0A-48AF-A93C-E3C7F4F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D74E8210-0CC1-49AA-9195-E8160CE02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9B7F824-9803-4617-BDFD-E41E8427CF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450C5EC5-59D0-42A8-B6F5-832E1BECD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2E85E749-C5B3-4985-88CD-7E0E3EDE6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F63D317D-1DF3-48D0-8302-4E0672773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A62B20C1-C4B8-441D-9E7A-075936883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14">
              <a:extLst>
                <a:ext uri="{FF2B5EF4-FFF2-40B4-BE49-F238E27FC236}">
                  <a16:creationId xmlns:a16="http://schemas.microsoft.com/office/drawing/2014/main" id="{2EF24314-3070-4BCB-B4B7-7E6EBEA578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3C9527E4-A75B-4924-83DB-30F6EFEFE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2D89E73D-7BBC-4AEF-B261-2FF3A0EA5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5C1CB92A-8C37-43B3-B971-A1D1696AF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5D293B9-5E5F-4D19-9E94-67F7A44A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286BE7CC-3D87-4B45-BE1A-15CB4F2050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87B1A386-5AE5-4F22-9E64-F0F9F2AE9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E9EFAB28-A8A6-4483-B3CE-A28538ECC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1110427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280610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23109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0539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05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05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15249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Images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0539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05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05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7825" y="377825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0061F575-6BDD-40A0-B4C1-0823AE11E63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64742" y="377825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07E6A55F-41D0-4C19-AA9F-66CBA132944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51659" y="377825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7F76CA7-FA50-46BB-94FE-8FDB125718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38575" y="377825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91DBF2-83B0-4D7A-BE47-DDB7E9E876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7825" y="2690912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B16D8BA9-B27F-44E4-AD31-E2F3C1C77A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64742" y="2690912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95C2C717-1F08-4A5F-BAC4-5F85B8DC79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51659" y="2690912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FE67741-C379-4556-8D96-822D44EE08A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8575" y="2690912"/>
            <a:ext cx="2775600" cy="216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63F1A0CE-6AED-4E4F-90D9-44A2864647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4347FA6-2376-4FC3-AFDB-73735C6B6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A3E253D4-86CC-4F15-A59C-E8E121C27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9992E07C-EEFF-48AB-86E2-385F1AA61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A13AD33D-151E-4FBD-B2A1-9548E2472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17E0D2ED-8D59-4E7A-BA1B-2B5F6CE760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3A435AA7-BA3F-4559-8EA4-4354E4AA3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3255FCF9-02E7-4EA4-8832-BF9D58060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058265B1-AA90-42AD-82BD-7DADD2DF9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D98B06E6-8D2F-4850-8B86-BE205DB25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4">
              <a:extLst>
                <a:ext uri="{FF2B5EF4-FFF2-40B4-BE49-F238E27FC236}">
                  <a16:creationId xmlns:a16="http://schemas.microsoft.com/office/drawing/2014/main" id="{16DBD3E3-9FAC-411A-ABB2-7AC0FB3C7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781A4129-BD7C-4E2D-AEF2-25F92EF914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FCA6C132-AFC4-46FE-9E28-D50CAD945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273BEC40-B5EB-49B2-899D-1A87BADE12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84B6D220-834B-44A1-8CEE-92ED43C0B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19">
              <a:extLst>
                <a:ext uri="{FF2B5EF4-FFF2-40B4-BE49-F238E27FC236}">
                  <a16:creationId xmlns:a16="http://schemas.microsoft.com/office/drawing/2014/main" id="{DC55E05A-5036-4847-9474-C82F91D7B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3B956F47-1E70-48D7-9233-D60042B4B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6D7572BE-8F08-4F42-A105-CA1323BE58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7086829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0539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0533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CF7A6AE-FA80-4C09-887C-D512261AA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97602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0579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2789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8F711CCC-5F45-416C-8E6E-BDF0893D69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D78F269E-56DA-4152-8ED2-80C61D7DBC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id="{CE242828-A4C5-469E-972B-299C67822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BB0A6AB-0310-4636-BE36-6C03C1FF3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DF1B9347-1D67-4FF0-AFA3-16AFB3A20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C748A7A9-A316-42FA-BE29-45675C8571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DA81E5B7-10D9-4781-A55E-11C8505B6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143C576D-E898-40BA-AB3E-A530EFE65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F5A7BF9B-3938-4721-A3A5-04ED5E550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D7F8737E-8D73-4EF6-823A-7AB4F4B2C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14">
              <a:extLst>
                <a:ext uri="{FF2B5EF4-FFF2-40B4-BE49-F238E27FC236}">
                  <a16:creationId xmlns:a16="http://schemas.microsoft.com/office/drawing/2014/main" id="{AF59072D-0B0E-45BC-A359-7320A27F0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08B281FA-E2B6-44E9-9303-C13493259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23B0EAA2-B9F3-47DF-A088-87288A389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238CA024-7C4D-42C6-B849-F7AFECD64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6153DE23-0ADE-4F13-94C9-2130D69F81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019474D-0EA4-4FFC-8470-21BE8169D2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5DBF7B60-2189-4284-BF8B-E01023FD3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174173E8-16DB-48D9-8D72-7633DA6CA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0532740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0579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2789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A4ADA029-15EA-415A-A06F-670459AC64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768A575-C8F6-4B64-A32C-9EB23408E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id="{C2A26E55-4693-4660-93C3-FD60BE562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8444CFB-C7BD-4CC1-B918-9AF0FEF93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FC879C43-2B4C-4980-9CF9-B29D3A60E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5359A47-FC32-48AE-A520-D31C40198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F6877963-ED5E-4A59-AB6D-C2EBAA6D68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9976236-BD4F-4708-ADCE-C5599F046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0D996D2-366F-4228-B547-5093567A4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76D94331-40D7-4D01-A70F-086B3C42C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14">
              <a:extLst>
                <a:ext uri="{FF2B5EF4-FFF2-40B4-BE49-F238E27FC236}">
                  <a16:creationId xmlns:a16="http://schemas.microsoft.com/office/drawing/2014/main" id="{ABF38174-B644-45CD-BB5B-213B4FDC04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1A97BEAD-75F4-41ED-BC39-A9A1E8E69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93B90109-0787-413D-ACA6-CA6FA2541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E05B2AD3-AE89-4C8B-BD9E-190A16A35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48F06AEC-97C1-4FEE-8409-D20816233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E5524BD2-88CD-46CF-BC14-9DCAB87A4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54ABFD2A-DC3E-4B8D-8429-B59C923A8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8C1583DA-446B-4F4A-8D6D-62FF3AD22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780059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Multiple Images T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0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0" y="3780000"/>
            <a:ext cx="4932729" cy="16799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 b="0"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EEF6460A-0D6A-4327-B2BE-0C9712B6A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49D3C08-5CC1-4098-8B8E-914BB34B61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CD1EA3F-E357-4AD9-9CE2-D1FD206A90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27474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0447BAF-8359-4A21-89C7-6B2FF2FBD7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0000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00F93BD-FB5F-4CF5-8A8E-48893055A0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27474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F4393C47-4AA9-48E1-B379-92891715B0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DB0B40F-9F70-4D1C-A539-9021055EF9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27474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1" name="Group 4">
            <a:extLst>
              <a:ext uri="{FF2B5EF4-FFF2-40B4-BE49-F238E27FC236}">
                <a16:creationId xmlns:a16="http://schemas.microsoft.com/office/drawing/2014/main" id="{0DBF0AF9-EC20-4A0E-991B-FBCB53F9EE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</p:grpSpPr>
        <p:sp>
          <p:nvSpPr>
            <p:cNvPr id="82" name="Freeform 5">
              <a:extLst>
                <a:ext uri="{FF2B5EF4-FFF2-40B4-BE49-F238E27FC236}">
                  <a16:creationId xmlns:a16="http://schemas.microsoft.com/office/drawing/2014/main" id="{3FB39121-A830-41F6-BF24-FA85FF7AC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D4227563-2D5B-41E4-B848-6890D439F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id="{F1DAC2E5-A8AE-4B16-9E99-499981642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id="{7D4FAA22-B65E-4D6C-A79C-2CC2F227C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id="{6FB5880D-6F66-4118-BF8D-6B174C1EC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D645A736-5868-4EE0-BCCE-A28389664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id="{D744069B-E22D-48BE-8586-62F66300B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id="{10E1DEA6-48A6-4230-93BE-12C23DBEA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9D7B7529-4AA8-4FB4-BAE9-49851E738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6A7E152B-B145-4EF5-8F1A-995B643DA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408224B9-544E-4199-B1C4-CA03CF00E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E4735DBF-FE94-463A-B477-50930CEA4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9D7F3217-A89F-41FD-83FA-35AB477DE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07B4E8BC-65D2-4413-94C0-0BFA6D1E1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39C4AAD0-2816-46C2-8FE2-10E93909E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0608703E-75C8-4E12-B16A-C539E4585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92806C25-EF2D-4A8E-8ADE-87925358C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2">
              <a:extLst>
                <a:ext uri="{FF2B5EF4-FFF2-40B4-BE49-F238E27FC236}">
                  <a16:creationId xmlns:a16="http://schemas.microsoft.com/office/drawing/2014/main" id="{8414FA4A-2D06-42FF-9824-0DF51FA5C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3">
              <a:extLst>
                <a:ext uri="{FF2B5EF4-FFF2-40B4-BE49-F238E27FC236}">
                  <a16:creationId xmlns:a16="http://schemas.microsoft.com/office/drawing/2014/main" id="{731B3A8F-25F7-42F2-85BF-8FC2D7058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4">
              <a:extLst>
                <a:ext uri="{FF2B5EF4-FFF2-40B4-BE49-F238E27FC236}">
                  <a16:creationId xmlns:a16="http://schemas.microsoft.com/office/drawing/2014/main" id="{B354A89E-FED9-4499-9599-275EA2ACC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25">
              <a:extLst>
                <a:ext uri="{FF2B5EF4-FFF2-40B4-BE49-F238E27FC236}">
                  <a16:creationId xmlns:a16="http://schemas.microsoft.com/office/drawing/2014/main" id="{BDFF5CB5-9773-47FD-8917-846DB6F73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26">
              <a:extLst>
                <a:ext uri="{FF2B5EF4-FFF2-40B4-BE49-F238E27FC236}">
                  <a16:creationId xmlns:a16="http://schemas.microsoft.com/office/drawing/2014/main" id="{8DB80A2A-5ED8-4C85-81F0-FDD0A7777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7">
              <a:extLst>
                <a:ext uri="{FF2B5EF4-FFF2-40B4-BE49-F238E27FC236}">
                  <a16:creationId xmlns:a16="http://schemas.microsoft.com/office/drawing/2014/main" id="{CD5E129B-F7F8-48C4-B244-BAA1F6B32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8">
              <a:extLst>
                <a:ext uri="{FF2B5EF4-FFF2-40B4-BE49-F238E27FC236}">
                  <a16:creationId xmlns:a16="http://schemas.microsoft.com/office/drawing/2014/main" id="{63BBAF01-4784-4499-B4E0-87B3175990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">
              <a:extLst>
                <a:ext uri="{FF2B5EF4-FFF2-40B4-BE49-F238E27FC236}">
                  <a16:creationId xmlns:a16="http://schemas.microsoft.com/office/drawing/2014/main" id="{573B5B42-D2E2-4E88-9CF1-D7ED75F0F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30">
              <a:extLst>
                <a:ext uri="{FF2B5EF4-FFF2-40B4-BE49-F238E27FC236}">
                  <a16:creationId xmlns:a16="http://schemas.microsoft.com/office/drawing/2014/main" id="{95D80AE6-BF21-46CF-8B42-74DC94BE4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31">
              <a:extLst>
                <a:ext uri="{FF2B5EF4-FFF2-40B4-BE49-F238E27FC236}">
                  <a16:creationId xmlns:a16="http://schemas.microsoft.com/office/drawing/2014/main" id="{DCF9FB2A-5382-4CF4-97F7-D14604E9C6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2">
              <a:extLst>
                <a:ext uri="{FF2B5EF4-FFF2-40B4-BE49-F238E27FC236}">
                  <a16:creationId xmlns:a16="http://schemas.microsoft.com/office/drawing/2014/main" id="{EEC1307B-A444-4198-82BF-FDB2716EC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3">
              <a:extLst>
                <a:ext uri="{FF2B5EF4-FFF2-40B4-BE49-F238E27FC236}">
                  <a16:creationId xmlns:a16="http://schemas.microsoft.com/office/drawing/2014/main" id="{41F4374D-41DB-4F9E-8009-E1BF2E57D5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4">
              <a:extLst>
                <a:ext uri="{FF2B5EF4-FFF2-40B4-BE49-F238E27FC236}">
                  <a16:creationId xmlns:a16="http://schemas.microsoft.com/office/drawing/2014/main" id="{98C71D33-6046-4737-BCBE-6950BBC21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5">
              <a:extLst>
                <a:ext uri="{FF2B5EF4-FFF2-40B4-BE49-F238E27FC236}">
                  <a16:creationId xmlns:a16="http://schemas.microsoft.com/office/drawing/2014/main" id="{C1F8DF63-14AA-4BCB-BB44-1FD2E9EA3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6">
              <a:extLst>
                <a:ext uri="{FF2B5EF4-FFF2-40B4-BE49-F238E27FC236}">
                  <a16:creationId xmlns:a16="http://schemas.microsoft.com/office/drawing/2014/main" id="{1365877D-1CCE-47F3-9797-48B777B1A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7">
              <a:extLst>
                <a:ext uri="{FF2B5EF4-FFF2-40B4-BE49-F238E27FC236}">
                  <a16:creationId xmlns:a16="http://schemas.microsoft.com/office/drawing/2014/main" id="{23398ABC-1AAB-4977-9CC1-6AB643EC5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8">
              <a:extLst>
                <a:ext uri="{FF2B5EF4-FFF2-40B4-BE49-F238E27FC236}">
                  <a16:creationId xmlns:a16="http://schemas.microsoft.com/office/drawing/2014/main" id="{9202CDEF-D4A9-478A-B0CE-66EBB1964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7056907"/>
      </p:ext>
    </p:extLst>
  </p:cSld>
  <p:clrMapOvr>
    <a:masterClrMapping/>
  </p:clrMapOvr>
  <p:transition>
    <p:fade/>
  </p:transition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588082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F7D5178-7DA3-4647-A597-351F658F0E31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</p:grpSpPr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9B742C6F-B186-4C3E-A6D2-70F2A946C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2B0005B7-64C9-499A-BAE8-0BBF27D35B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5B933EB8-257D-4990-A0D8-0D28CC990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3944D9FB-222E-42AE-BB18-87B196947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4E034B6F-A61A-4C9C-91C2-C3455B90C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96F27E87-A440-48EF-AD58-F613C67610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id="{238DE3CE-E0AB-4A14-8AA5-A480C82FF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1354A55B-C8F4-42E3-9BAC-467405B99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F7D1A033-6607-4952-8B62-6BA50AC8B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A710CF87-3B66-421C-BAF7-D08405D04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BE09D9D0-3ECC-4D74-9FCB-835721BAF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C7F84A10-55B4-4FD4-A263-187662CD7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B7729D84-51E6-4059-935A-D7A4C0736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id="{0FD31313-7C50-47A8-9A92-6E1751164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BE37D612-663E-4000-BD58-C53337B1E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id="{D84F2A5D-5548-4271-A66A-F969FADF6D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0">
              <a:extLst>
                <a:ext uri="{FF2B5EF4-FFF2-40B4-BE49-F238E27FC236}">
                  <a16:creationId xmlns:a16="http://schemas.microsoft.com/office/drawing/2014/main" id="{E4AFE336-75CB-424C-B44E-501FF18A2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B44E71FD-53A4-4B8F-A889-16A242EB2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2">
              <a:extLst>
                <a:ext uri="{FF2B5EF4-FFF2-40B4-BE49-F238E27FC236}">
                  <a16:creationId xmlns:a16="http://schemas.microsoft.com/office/drawing/2014/main" id="{2D2248C7-4BA8-4FCA-8FD7-430AA648D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516C6F98-44D0-4CDE-BAD6-56F8A7FBF3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805A59EA-27D1-4018-BDFB-B56927D4F7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25">
              <a:extLst>
                <a:ext uri="{FF2B5EF4-FFF2-40B4-BE49-F238E27FC236}">
                  <a16:creationId xmlns:a16="http://schemas.microsoft.com/office/drawing/2014/main" id="{6AA2B07F-C6C3-4945-9723-AD110F1AC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">
              <a:extLst>
                <a:ext uri="{FF2B5EF4-FFF2-40B4-BE49-F238E27FC236}">
                  <a16:creationId xmlns:a16="http://schemas.microsoft.com/office/drawing/2014/main" id="{DBA65632-AD05-4D89-B262-2059460F8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7">
              <a:extLst>
                <a:ext uri="{FF2B5EF4-FFF2-40B4-BE49-F238E27FC236}">
                  <a16:creationId xmlns:a16="http://schemas.microsoft.com/office/drawing/2014/main" id="{E7611F5A-A037-48CE-8133-BB62EB5A0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8">
              <a:extLst>
                <a:ext uri="{FF2B5EF4-FFF2-40B4-BE49-F238E27FC236}">
                  <a16:creationId xmlns:a16="http://schemas.microsoft.com/office/drawing/2014/main" id="{5ADE7C80-D8FD-4C8F-BFBA-90ED0FD7E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9">
              <a:extLst>
                <a:ext uri="{FF2B5EF4-FFF2-40B4-BE49-F238E27FC236}">
                  <a16:creationId xmlns:a16="http://schemas.microsoft.com/office/drawing/2014/main" id="{036A194C-7971-4AE2-AA19-8B04EA6C5E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30">
              <a:extLst>
                <a:ext uri="{FF2B5EF4-FFF2-40B4-BE49-F238E27FC236}">
                  <a16:creationId xmlns:a16="http://schemas.microsoft.com/office/drawing/2014/main" id="{8EB1AB17-12ED-41D9-A049-F2E95BD58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E66528C7-8792-4272-A334-E5284B6E00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32">
              <a:extLst>
                <a:ext uri="{FF2B5EF4-FFF2-40B4-BE49-F238E27FC236}">
                  <a16:creationId xmlns:a16="http://schemas.microsoft.com/office/drawing/2014/main" id="{733938CF-902D-4ACD-8553-EFCCFD38C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33">
              <a:extLst>
                <a:ext uri="{FF2B5EF4-FFF2-40B4-BE49-F238E27FC236}">
                  <a16:creationId xmlns:a16="http://schemas.microsoft.com/office/drawing/2014/main" id="{4B61CD39-2B15-44CA-A330-03E8EDC04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34">
              <a:extLst>
                <a:ext uri="{FF2B5EF4-FFF2-40B4-BE49-F238E27FC236}">
                  <a16:creationId xmlns:a16="http://schemas.microsoft.com/office/drawing/2014/main" id="{70E8239E-2DA2-47CD-ACA7-20DBDC5C2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5">
              <a:extLst>
                <a:ext uri="{FF2B5EF4-FFF2-40B4-BE49-F238E27FC236}">
                  <a16:creationId xmlns:a16="http://schemas.microsoft.com/office/drawing/2014/main" id="{E725CACB-0678-43E3-B11B-1814928CC5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6">
              <a:extLst>
                <a:ext uri="{FF2B5EF4-FFF2-40B4-BE49-F238E27FC236}">
                  <a16:creationId xmlns:a16="http://schemas.microsoft.com/office/drawing/2014/main" id="{2CD25723-F73C-401B-B15F-7F6104B81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7">
              <a:extLst>
                <a:ext uri="{FF2B5EF4-FFF2-40B4-BE49-F238E27FC236}">
                  <a16:creationId xmlns:a16="http://schemas.microsoft.com/office/drawing/2014/main" id="{3B5E507F-67F1-46BB-A64B-C58A6B6BB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8497739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T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B592237F-2544-426A-B40A-5B3CF8735C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0A8BEFA7-FBD2-4F3E-9103-07B3C3DA8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70C3700B-1D44-48A4-B8C2-E2DAA6C16B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F330137B-8B7C-45B4-BCA8-9FBAB694F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6817464F-E89D-4C6E-B211-3331FA4F0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7D413CE4-B58A-423A-91B9-7C7BB87C44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42F9C5E2-D505-4219-A355-2A2A9E238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81D19BD-7436-440B-8DFA-05880CD16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910EAE70-3345-4DFA-BAB1-C250DB46DD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5D0F4628-DF59-4A00-9944-D6E0C2525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310FC6AF-05E9-4C70-96FC-FC986FE79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6462BFD2-C385-4E48-A4F3-F8709E493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EDE71999-F076-45C4-83CB-1E2497F4F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17">
              <a:extLst>
                <a:ext uri="{FF2B5EF4-FFF2-40B4-BE49-F238E27FC236}">
                  <a16:creationId xmlns:a16="http://schemas.microsoft.com/office/drawing/2014/main" id="{6E0F61FC-1755-4980-85D2-7A54DD878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18">
              <a:extLst>
                <a:ext uri="{FF2B5EF4-FFF2-40B4-BE49-F238E27FC236}">
                  <a16:creationId xmlns:a16="http://schemas.microsoft.com/office/drawing/2014/main" id="{51307A47-3D3C-48D0-B62A-E0FC5ED2D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19">
              <a:extLst>
                <a:ext uri="{FF2B5EF4-FFF2-40B4-BE49-F238E27FC236}">
                  <a16:creationId xmlns:a16="http://schemas.microsoft.com/office/drawing/2014/main" id="{1848A310-879A-41E6-AC21-8668414F7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68C69A0B-E227-4F67-993F-FD57EBBF4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B2E6DB78-4470-4165-9AC6-0066CB824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2">
              <a:extLst>
                <a:ext uri="{FF2B5EF4-FFF2-40B4-BE49-F238E27FC236}">
                  <a16:creationId xmlns:a16="http://schemas.microsoft.com/office/drawing/2014/main" id="{F856AE79-C86B-448E-BAC7-6D47069DD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3">
              <a:extLst>
                <a:ext uri="{FF2B5EF4-FFF2-40B4-BE49-F238E27FC236}">
                  <a16:creationId xmlns:a16="http://schemas.microsoft.com/office/drawing/2014/main" id="{84812AAD-0719-47FB-906A-24F2D8B4E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4">
              <a:extLst>
                <a:ext uri="{FF2B5EF4-FFF2-40B4-BE49-F238E27FC236}">
                  <a16:creationId xmlns:a16="http://schemas.microsoft.com/office/drawing/2014/main" id="{46C31F6A-23E3-4673-9672-C13EBF3441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25">
              <a:extLst>
                <a:ext uri="{FF2B5EF4-FFF2-40B4-BE49-F238E27FC236}">
                  <a16:creationId xmlns:a16="http://schemas.microsoft.com/office/drawing/2014/main" id="{0CB96E7E-432C-4401-9A77-39B7F96D0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47B0B90D-154E-4C69-84B7-B340EDBA7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073E9043-4243-4285-A87C-C56033CD2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8">
              <a:extLst>
                <a:ext uri="{FF2B5EF4-FFF2-40B4-BE49-F238E27FC236}">
                  <a16:creationId xmlns:a16="http://schemas.microsoft.com/office/drawing/2014/main" id="{0219DDB5-4E1F-49DA-8452-9B5FB4D94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">
              <a:extLst>
                <a:ext uri="{FF2B5EF4-FFF2-40B4-BE49-F238E27FC236}">
                  <a16:creationId xmlns:a16="http://schemas.microsoft.com/office/drawing/2014/main" id="{6F0350BC-BD5D-4554-A757-F3CE98D48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30">
              <a:extLst>
                <a:ext uri="{FF2B5EF4-FFF2-40B4-BE49-F238E27FC236}">
                  <a16:creationId xmlns:a16="http://schemas.microsoft.com/office/drawing/2014/main" id="{AD1DBBA7-B25A-4561-8B64-154672439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31">
              <a:extLst>
                <a:ext uri="{FF2B5EF4-FFF2-40B4-BE49-F238E27FC236}">
                  <a16:creationId xmlns:a16="http://schemas.microsoft.com/office/drawing/2014/main" id="{D4B8534C-F13B-4062-B8B8-9DA4D2772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32">
              <a:extLst>
                <a:ext uri="{FF2B5EF4-FFF2-40B4-BE49-F238E27FC236}">
                  <a16:creationId xmlns:a16="http://schemas.microsoft.com/office/drawing/2014/main" id="{71449D1C-6D0A-4848-9556-00DA16F0A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33">
              <a:extLst>
                <a:ext uri="{FF2B5EF4-FFF2-40B4-BE49-F238E27FC236}">
                  <a16:creationId xmlns:a16="http://schemas.microsoft.com/office/drawing/2014/main" id="{BE22A5B8-96A8-4578-A124-EDD3C7A29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34">
              <a:extLst>
                <a:ext uri="{FF2B5EF4-FFF2-40B4-BE49-F238E27FC236}">
                  <a16:creationId xmlns:a16="http://schemas.microsoft.com/office/drawing/2014/main" id="{B9D9F771-1858-40DA-AC72-D896B1D49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35">
              <a:extLst>
                <a:ext uri="{FF2B5EF4-FFF2-40B4-BE49-F238E27FC236}">
                  <a16:creationId xmlns:a16="http://schemas.microsoft.com/office/drawing/2014/main" id="{D365ED38-21B8-431F-805E-D41C99D86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6">
              <a:extLst>
                <a:ext uri="{FF2B5EF4-FFF2-40B4-BE49-F238E27FC236}">
                  <a16:creationId xmlns:a16="http://schemas.microsoft.com/office/drawing/2014/main" id="{07C4C949-D95F-4447-8E71-9BC04E827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37">
              <a:extLst>
                <a:ext uri="{FF2B5EF4-FFF2-40B4-BE49-F238E27FC236}">
                  <a16:creationId xmlns:a16="http://schemas.microsoft.com/office/drawing/2014/main" id="{39DD64BF-0B85-4F21-B7F3-FC1A8891B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8">
              <a:extLst>
                <a:ext uri="{FF2B5EF4-FFF2-40B4-BE49-F238E27FC236}">
                  <a16:creationId xmlns:a16="http://schemas.microsoft.com/office/drawing/2014/main" id="{8CE2611E-296E-4644-BA68-5412C29CB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07275578"/>
      </p:ext>
    </p:extLst>
  </p:cSld>
  <p:clrMapOvr>
    <a:masterClrMapping/>
  </p:clrMapOvr>
  <p:transition>
    <p:fade/>
  </p:transition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39C592A-8C60-4A02-B521-CB5F984023BC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  <a:solidFill>
            <a:schemeClr val="bg1"/>
          </a:solidFill>
        </p:grpSpPr>
        <p:sp>
          <p:nvSpPr>
            <p:cNvPr id="95" name="Freeform 35">
              <a:extLst>
                <a:ext uri="{FF2B5EF4-FFF2-40B4-BE49-F238E27FC236}">
                  <a16:creationId xmlns:a16="http://schemas.microsoft.com/office/drawing/2014/main" id="{469680AA-B7AA-4A7E-93C7-3195464E8E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69B02A2F-F9AA-4004-B504-37B8B0848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id="{806FD60E-0BAE-4D90-A637-05391F5FC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3A3856DA-D163-4327-91AA-A06E1A198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39CDA043-E772-41A1-B586-6DCA19EE2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5301969C-36C1-4E23-B56C-68DF37FF2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E39B4F48-308B-434F-A2DB-B7BA78FA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11">
              <a:extLst>
                <a:ext uri="{FF2B5EF4-FFF2-40B4-BE49-F238E27FC236}">
                  <a16:creationId xmlns:a16="http://schemas.microsoft.com/office/drawing/2014/main" id="{2DC77F6B-CA6B-493C-B299-C5FF65AF7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12">
              <a:extLst>
                <a:ext uri="{FF2B5EF4-FFF2-40B4-BE49-F238E27FC236}">
                  <a16:creationId xmlns:a16="http://schemas.microsoft.com/office/drawing/2014/main" id="{89290AFA-4856-471B-AAB2-090E623144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13">
              <a:extLst>
                <a:ext uri="{FF2B5EF4-FFF2-40B4-BE49-F238E27FC236}">
                  <a16:creationId xmlns:a16="http://schemas.microsoft.com/office/drawing/2014/main" id="{0167990A-143F-4266-9EE7-57D6A0CBF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4">
              <a:extLst>
                <a:ext uri="{FF2B5EF4-FFF2-40B4-BE49-F238E27FC236}">
                  <a16:creationId xmlns:a16="http://schemas.microsoft.com/office/drawing/2014/main" id="{9ACBD9A4-936D-42EE-98D3-F436F5F96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5">
              <a:extLst>
                <a:ext uri="{FF2B5EF4-FFF2-40B4-BE49-F238E27FC236}">
                  <a16:creationId xmlns:a16="http://schemas.microsoft.com/office/drawing/2014/main" id="{B0DE4097-C934-4F55-9F6F-BDFEDCBCF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6">
              <a:extLst>
                <a:ext uri="{FF2B5EF4-FFF2-40B4-BE49-F238E27FC236}">
                  <a16:creationId xmlns:a16="http://schemas.microsoft.com/office/drawing/2014/main" id="{E3196A79-9A37-4790-B342-278C5B73D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7">
              <a:extLst>
                <a:ext uri="{FF2B5EF4-FFF2-40B4-BE49-F238E27FC236}">
                  <a16:creationId xmlns:a16="http://schemas.microsoft.com/office/drawing/2014/main" id="{A0E6B8D7-5D8E-4C92-A8FF-E5BC1125D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8">
              <a:extLst>
                <a:ext uri="{FF2B5EF4-FFF2-40B4-BE49-F238E27FC236}">
                  <a16:creationId xmlns:a16="http://schemas.microsoft.com/office/drawing/2014/main" id="{A2F9D7D3-BE52-431F-B037-AA48A9A7D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9">
              <a:extLst>
                <a:ext uri="{FF2B5EF4-FFF2-40B4-BE49-F238E27FC236}">
                  <a16:creationId xmlns:a16="http://schemas.microsoft.com/office/drawing/2014/main" id="{6E6CF88B-AC4F-49AD-98AF-8CA5C14A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20">
              <a:extLst>
                <a:ext uri="{FF2B5EF4-FFF2-40B4-BE49-F238E27FC236}">
                  <a16:creationId xmlns:a16="http://schemas.microsoft.com/office/drawing/2014/main" id="{E667A9DB-883C-4CCB-8F9B-01750C2633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21">
              <a:extLst>
                <a:ext uri="{FF2B5EF4-FFF2-40B4-BE49-F238E27FC236}">
                  <a16:creationId xmlns:a16="http://schemas.microsoft.com/office/drawing/2014/main" id="{BE105A6C-A50A-4211-8502-6CC460FC4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22">
              <a:extLst>
                <a:ext uri="{FF2B5EF4-FFF2-40B4-BE49-F238E27FC236}">
                  <a16:creationId xmlns:a16="http://schemas.microsoft.com/office/drawing/2014/main" id="{0DFF4D70-153F-4904-9E39-BAC8050E1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23">
              <a:extLst>
                <a:ext uri="{FF2B5EF4-FFF2-40B4-BE49-F238E27FC236}">
                  <a16:creationId xmlns:a16="http://schemas.microsoft.com/office/drawing/2014/main" id="{B761E53B-EA1A-4A3D-A435-6719AAC64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24">
              <a:extLst>
                <a:ext uri="{FF2B5EF4-FFF2-40B4-BE49-F238E27FC236}">
                  <a16:creationId xmlns:a16="http://schemas.microsoft.com/office/drawing/2014/main" id="{4E5F3E80-CEAF-4D55-8398-19073134B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25">
              <a:extLst>
                <a:ext uri="{FF2B5EF4-FFF2-40B4-BE49-F238E27FC236}">
                  <a16:creationId xmlns:a16="http://schemas.microsoft.com/office/drawing/2014/main" id="{A05327CC-B515-4BAF-8A03-69A2545DE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26">
              <a:extLst>
                <a:ext uri="{FF2B5EF4-FFF2-40B4-BE49-F238E27FC236}">
                  <a16:creationId xmlns:a16="http://schemas.microsoft.com/office/drawing/2014/main" id="{59C01E89-4CC9-4682-9159-EDDBE5180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27">
              <a:extLst>
                <a:ext uri="{FF2B5EF4-FFF2-40B4-BE49-F238E27FC236}">
                  <a16:creationId xmlns:a16="http://schemas.microsoft.com/office/drawing/2014/main" id="{3DF60EBE-A930-4464-AFE1-8F0B5B50A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28">
              <a:extLst>
                <a:ext uri="{FF2B5EF4-FFF2-40B4-BE49-F238E27FC236}">
                  <a16:creationId xmlns:a16="http://schemas.microsoft.com/office/drawing/2014/main" id="{63144327-7080-41DF-8779-EF6BB65D44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29">
              <a:extLst>
                <a:ext uri="{FF2B5EF4-FFF2-40B4-BE49-F238E27FC236}">
                  <a16:creationId xmlns:a16="http://schemas.microsoft.com/office/drawing/2014/main" id="{A2D683AB-1E36-41AA-8397-E7B9C64180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0">
              <a:extLst>
                <a:ext uri="{FF2B5EF4-FFF2-40B4-BE49-F238E27FC236}">
                  <a16:creationId xmlns:a16="http://schemas.microsoft.com/office/drawing/2014/main" id="{AA187EA7-7992-4F9D-A232-9FC5931C7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">
              <a:extLst>
                <a:ext uri="{FF2B5EF4-FFF2-40B4-BE49-F238E27FC236}">
                  <a16:creationId xmlns:a16="http://schemas.microsoft.com/office/drawing/2014/main" id="{5469AD89-06B9-40ED-8A3D-9238C871E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2">
              <a:extLst>
                <a:ext uri="{FF2B5EF4-FFF2-40B4-BE49-F238E27FC236}">
                  <a16:creationId xmlns:a16="http://schemas.microsoft.com/office/drawing/2014/main" id="{588AF467-8918-4DE2-8685-2A53E27C7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3">
              <a:extLst>
                <a:ext uri="{FF2B5EF4-FFF2-40B4-BE49-F238E27FC236}">
                  <a16:creationId xmlns:a16="http://schemas.microsoft.com/office/drawing/2014/main" id="{DF9B318C-ADDE-4049-8793-548C376C1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4">
              <a:extLst>
                <a:ext uri="{FF2B5EF4-FFF2-40B4-BE49-F238E27FC236}">
                  <a16:creationId xmlns:a16="http://schemas.microsoft.com/office/drawing/2014/main" id="{DFE05CC0-98CF-49FF-A289-E835425D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5">
              <a:extLst>
                <a:ext uri="{FF2B5EF4-FFF2-40B4-BE49-F238E27FC236}">
                  <a16:creationId xmlns:a16="http://schemas.microsoft.com/office/drawing/2014/main" id="{FF23E055-EEAF-4604-A1D8-03FD05347B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6">
              <a:extLst>
                <a:ext uri="{FF2B5EF4-FFF2-40B4-BE49-F238E27FC236}">
                  <a16:creationId xmlns:a16="http://schemas.microsoft.com/office/drawing/2014/main" id="{CA20D62A-3DE2-47EA-9451-00B637E11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7">
              <a:extLst>
                <a:ext uri="{FF2B5EF4-FFF2-40B4-BE49-F238E27FC236}">
                  <a16:creationId xmlns:a16="http://schemas.microsoft.com/office/drawing/2014/main" id="{99977953-2903-44D8-AB17-03B8A3966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810808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Teal T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28432EA4-EBF4-4CE2-903E-69767B984A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  <a:solidFill>
            <a:schemeClr val="bg1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1252136C-CE59-474B-A708-6889546A92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B5C20201-8F03-410E-AAF2-A67ADB48EF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F180D953-D692-4FB9-8976-37C35D054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19E9000-0EF0-42BC-932A-5A621CA61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33F598AA-B525-4326-81A5-B5E7922C3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7C2BE345-534B-4D95-AEAF-5270BBA4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4EC4A96C-8E7C-43D8-A297-F7EB4012A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968CB274-A27B-4D3D-9916-D3CCE8B22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F56350AF-99DA-4572-B90F-3AE51B998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823B13A2-E350-45B4-9A77-F8EC5DFD7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CEAD6831-BDB2-410C-B15A-242849A50D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A0A605FB-7A8F-4FC6-B70F-533E8CDE7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1473170C-77F2-43DB-9770-4851F7C8D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A54FE5DA-6BCC-4B54-BB57-F5C52CB29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89DA8A70-CF9A-4F6C-8720-50121858F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1AC56B2E-6F23-4742-A8B3-8B7D1B098A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675740FC-983D-45A5-A13E-AE0B85E0C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181836E3-C588-4EB1-814D-654CEB0F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8D4D6CCC-E1ED-4D18-9FA3-C2663F779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F6781D2A-D687-4009-901C-EDAA725EF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25">
              <a:extLst>
                <a:ext uri="{FF2B5EF4-FFF2-40B4-BE49-F238E27FC236}">
                  <a16:creationId xmlns:a16="http://schemas.microsoft.com/office/drawing/2014/main" id="{3658A9A2-827E-4438-81D8-BBE19EB545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7B30E1D9-C4B3-4173-9CE5-8891E32D0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98A3E0BA-B9D0-4CC5-A296-89EA07D54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4F8EA0FD-C876-4394-8631-367215ED66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3B9D535A-05A1-49F9-AE16-CB2182750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317E8491-23D4-4CC0-9E61-C50CB8DEE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D2476996-85DC-41FF-95F5-8FC0A7957A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B17C5701-0FBE-4A92-9C6D-688DF4F6A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5553B76D-E3DC-4907-BB92-AA6480EB56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A78333B8-01D4-427B-ACE5-81D16FF4A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35">
              <a:extLst>
                <a:ext uri="{FF2B5EF4-FFF2-40B4-BE49-F238E27FC236}">
                  <a16:creationId xmlns:a16="http://schemas.microsoft.com/office/drawing/2014/main" id="{F21C9E86-F3B3-4DE5-8E2F-2DB2541338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6">
              <a:extLst>
                <a:ext uri="{FF2B5EF4-FFF2-40B4-BE49-F238E27FC236}">
                  <a16:creationId xmlns:a16="http://schemas.microsoft.com/office/drawing/2014/main" id="{789DDE5F-C064-47CD-8DAF-BD346A4F9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37">
              <a:extLst>
                <a:ext uri="{FF2B5EF4-FFF2-40B4-BE49-F238E27FC236}">
                  <a16:creationId xmlns:a16="http://schemas.microsoft.com/office/drawing/2014/main" id="{34E61E64-D21F-427F-99D0-3265BB671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38">
              <a:extLst>
                <a:ext uri="{FF2B5EF4-FFF2-40B4-BE49-F238E27FC236}">
                  <a16:creationId xmlns:a16="http://schemas.microsoft.com/office/drawing/2014/main" id="{1F981973-04A6-450B-8D99-9018A163F4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4898657"/>
      </p:ext>
    </p:extLst>
  </p:cSld>
  <p:clrMapOvr>
    <a:masterClrMapping/>
  </p:clrMapOvr>
  <p:transition>
    <p:fade/>
  </p:transition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E628899-5F59-45B4-9976-F3C144B89431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  <a:solidFill>
            <a:schemeClr val="bg1"/>
          </a:solidFill>
        </p:grpSpPr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AC64EECF-1F29-4B88-BE43-355976480A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27F67657-78D8-4AFF-BC3B-952E4F05B1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B0B6E72-185E-44B0-B3C6-FC7A05B8D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51DE78BC-20DF-4E09-BD26-7E0CF25E6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C1E0601F-DFA0-4E70-95BD-2075AD6F1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CF7B30F2-4BF4-448C-9025-49A1281BEF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id="{274E366B-95CC-48E7-BD4D-BFF51AA5D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96A8BD4D-C713-44CF-8329-020BDB963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0EBF168A-490C-4E18-ACAE-0257EDB5B5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DBA12483-3889-4E92-8E45-7379C7F09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ED760825-C425-441B-83F9-C38A1FA13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31A11E36-5A06-4F7F-BA73-EF4B43B4F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BFC4CD61-191E-4B70-BB9E-AE8F1325DB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id="{76BA234F-6B10-4287-ACED-CEC72AD3A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AE0445B3-58D6-4D55-A4CB-71D7E88AC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id="{C6117476-C203-48C9-997E-0D97FCE188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0">
              <a:extLst>
                <a:ext uri="{FF2B5EF4-FFF2-40B4-BE49-F238E27FC236}">
                  <a16:creationId xmlns:a16="http://schemas.microsoft.com/office/drawing/2014/main" id="{41B69EEE-ED17-4C40-B1CA-6F52F45485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4B4964C0-709F-477F-8E71-BD35EB462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2">
              <a:extLst>
                <a:ext uri="{FF2B5EF4-FFF2-40B4-BE49-F238E27FC236}">
                  <a16:creationId xmlns:a16="http://schemas.microsoft.com/office/drawing/2014/main" id="{B80B6AD4-B903-4055-87F7-BCAE5FEB4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056B7106-23A4-4E0B-AF11-3119D3974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03AEC3AF-63F8-4071-8EA4-B9EBA77B6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25">
              <a:extLst>
                <a:ext uri="{FF2B5EF4-FFF2-40B4-BE49-F238E27FC236}">
                  <a16:creationId xmlns:a16="http://schemas.microsoft.com/office/drawing/2014/main" id="{7D8BF2F9-E665-48C3-A469-CDC542086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">
              <a:extLst>
                <a:ext uri="{FF2B5EF4-FFF2-40B4-BE49-F238E27FC236}">
                  <a16:creationId xmlns:a16="http://schemas.microsoft.com/office/drawing/2014/main" id="{E57D12C1-39D0-457D-B4F2-BE67063AE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7">
              <a:extLst>
                <a:ext uri="{FF2B5EF4-FFF2-40B4-BE49-F238E27FC236}">
                  <a16:creationId xmlns:a16="http://schemas.microsoft.com/office/drawing/2014/main" id="{8924771B-F241-4641-93A6-4AA1B996D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8">
              <a:extLst>
                <a:ext uri="{FF2B5EF4-FFF2-40B4-BE49-F238E27FC236}">
                  <a16:creationId xmlns:a16="http://schemas.microsoft.com/office/drawing/2014/main" id="{671C0B94-2D04-4AEB-B976-FED1D3C0A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9">
              <a:extLst>
                <a:ext uri="{FF2B5EF4-FFF2-40B4-BE49-F238E27FC236}">
                  <a16:creationId xmlns:a16="http://schemas.microsoft.com/office/drawing/2014/main" id="{228FE357-1DD4-46BF-ADD5-67B21E2C9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30">
              <a:extLst>
                <a:ext uri="{FF2B5EF4-FFF2-40B4-BE49-F238E27FC236}">
                  <a16:creationId xmlns:a16="http://schemas.microsoft.com/office/drawing/2014/main" id="{6DAAF3CA-11EA-413E-BB4D-CF35B17C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683C8D24-3D56-4E00-8EAC-57FD0F6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32">
              <a:extLst>
                <a:ext uri="{FF2B5EF4-FFF2-40B4-BE49-F238E27FC236}">
                  <a16:creationId xmlns:a16="http://schemas.microsoft.com/office/drawing/2014/main" id="{295F9D31-A30C-4A22-8AB4-2C829161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33">
              <a:extLst>
                <a:ext uri="{FF2B5EF4-FFF2-40B4-BE49-F238E27FC236}">
                  <a16:creationId xmlns:a16="http://schemas.microsoft.com/office/drawing/2014/main" id="{ABF1E5BF-E103-45DD-B47C-9AC2C24548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34">
              <a:extLst>
                <a:ext uri="{FF2B5EF4-FFF2-40B4-BE49-F238E27FC236}">
                  <a16:creationId xmlns:a16="http://schemas.microsoft.com/office/drawing/2014/main" id="{A9F397E2-2EEE-49FB-A838-64452C09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5">
              <a:extLst>
                <a:ext uri="{FF2B5EF4-FFF2-40B4-BE49-F238E27FC236}">
                  <a16:creationId xmlns:a16="http://schemas.microsoft.com/office/drawing/2014/main" id="{2373EDA0-A025-4E52-A669-46698A30E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6">
              <a:extLst>
                <a:ext uri="{FF2B5EF4-FFF2-40B4-BE49-F238E27FC236}">
                  <a16:creationId xmlns:a16="http://schemas.microsoft.com/office/drawing/2014/main" id="{87C0E588-62D9-43C1-8B35-D92ECECA6F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7">
              <a:extLst>
                <a:ext uri="{FF2B5EF4-FFF2-40B4-BE49-F238E27FC236}">
                  <a16:creationId xmlns:a16="http://schemas.microsoft.com/office/drawing/2014/main" id="{DF7EE146-682B-4576-BE4A-9AA9BEC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1056066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ue TM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3ED60D5D-4862-45C7-B827-605367E9D4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  <a:solidFill>
            <a:schemeClr val="bg1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56D1F66D-2302-46B1-902E-3540803F35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E11D8D6E-1FA3-4478-8652-3967D0F728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5384B848-F46F-474F-87B8-1673CC99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8EBF5537-E4DB-4DE8-ACFF-7BE62F93C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ED7AE73-BB7C-4DC1-B810-4060E80AB9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E42D74A7-2EA7-4D9F-A40E-04F291822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59E99005-9800-488A-AF21-233123AA4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DFA3C6D6-B832-43E2-BA8D-6C647A418E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F5E63665-087F-4548-8285-2216AB83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F271EA21-DEC3-47BD-B627-5A6CBDBAE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5724A15-85E0-41F6-9EEC-D3AC73F161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693CEC95-66E6-4812-8BE6-C86B0C287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17">
              <a:extLst>
                <a:ext uri="{FF2B5EF4-FFF2-40B4-BE49-F238E27FC236}">
                  <a16:creationId xmlns:a16="http://schemas.microsoft.com/office/drawing/2014/main" id="{58CCEC53-E8CD-4941-B281-31A45B558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18">
              <a:extLst>
                <a:ext uri="{FF2B5EF4-FFF2-40B4-BE49-F238E27FC236}">
                  <a16:creationId xmlns:a16="http://schemas.microsoft.com/office/drawing/2014/main" id="{01D232C3-3D50-47DB-AFC8-E63A082AC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19">
              <a:extLst>
                <a:ext uri="{FF2B5EF4-FFF2-40B4-BE49-F238E27FC236}">
                  <a16:creationId xmlns:a16="http://schemas.microsoft.com/office/drawing/2014/main" id="{EFE230DB-4D69-4BA9-A880-C8412950B0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932C1D0A-B47E-4072-8FB7-B75E2D232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C9C31617-2404-4DFE-A668-A942D3D57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2">
              <a:extLst>
                <a:ext uri="{FF2B5EF4-FFF2-40B4-BE49-F238E27FC236}">
                  <a16:creationId xmlns:a16="http://schemas.microsoft.com/office/drawing/2014/main" id="{E492A0D4-30C6-4001-AEBC-8414908DD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3">
              <a:extLst>
                <a:ext uri="{FF2B5EF4-FFF2-40B4-BE49-F238E27FC236}">
                  <a16:creationId xmlns:a16="http://schemas.microsoft.com/office/drawing/2014/main" id="{8119972C-E949-431D-8E26-E951AC385A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4">
              <a:extLst>
                <a:ext uri="{FF2B5EF4-FFF2-40B4-BE49-F238E27FC236}">
                  <a16:creationId xmlns:a16="http://schemas.microsoft.com/office/drawing/2014/main" id="{803870B4-22DA-4437-842C-C5A4010FE0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25">
              <a:extLst>
                <a:ext uri="{FF2B5EF4-FFF2-40B4-BE49-F238E27FC236}">
                  <a16:creationId xmlns:a16="http://schemas.microsoft.com/office/drawing/2014/main" id="{8B5C6D2C-4398-40C0-AE9A-C07CC4BCA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4794A451-C1BE-4BF0-AFB9-C5DD9ADD0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83DE326D-50FE-4038-9F16-C8D50DF5F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8">
              <a:extLst>
                <a:ext uri="{FF2B5EF4-FFF2-40B4-BE49-F238E27FC236}">
                  <a16:creationId xmlns:a16="http://schemas.microsoft.com/office/drawing/2014/main" id="{0FB94C16-B704-4071-8E42-0A9C6FC1F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">
              <a:extLst>
                <a:ext uri="{FF2B5EF4-FFF2-40B4-BE49-F238E27FC236}">
                  <a16:creationId xmlns:a16="http://schemas.microsoft.com/office/drawing/2014/main" id="{014794A5-EEAD-4062-AEF6-2C86FBDFE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30">
              <a:extLst>
                <a:ext uri="{FF2B5EF4-FFF2-40B4-BE49-F238E27FC236}">
                  <a16:creationId xmlns:a16="http://schemas.microsoft.com/office/drawing/2014/main" id="{013FFEF4-7977-4EA3-AF5A-FF0DF6375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31">
              <a:extLst>
                <a:ext uri="{FF2B5EF4-FFF2-40B4-BE49-F238E27FC236}">
                  <a16:creationId xmlns:a16="http://schemas.microsoft.com/office/drawing/2014/main" id="{D84DCC5A-EBEE-4AA1-9A59-778B3BE906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32">
              <a:extLst>
                <a:ext uri="{FF2B5EF4-FFF2-40B4-BE49-F238E27FC236}">
                  <a16:creationId xmlns:a16="http://schemas.microsoft.com/office/drawing/2014/main" id="{25EACDBA-92A1-4E98-9FEF-C3923FA3A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33">
              <a:extLst>
                <a:ext uri="{FF2B5EF4-FFF2-40B4-BE49-F238E27FC236}">
                  <a16:creationId xmlns:a16="http://schemas.microsoft.com/office/drawing/2014/main" id="{0744E6A2-75F5-4B25-B94B-01290E1A2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34">
              <a:extLst>
                <a:ext uri="{FF2B5EF4-FFF2-40B4-BE49-F238E27FC236}">
                  <a16:creationId xmlns:a16="http://schemas.microsoft.com/office/drawing/2014/main" id="{5583BFB2-7BF0-4B36-BC6C-1C9235B4C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35">
              <a:extLst>
                <a:ext uri="{FF2B5EF4-FFF2-40B4-BE49-F238E27FC236}">
                  <a16:creationId xmlns:a16="http://schemas.microsoft.com/office/drawing/2014/main" id="{DC1DB978-9BD7-4C39-8E50-6BEC69AC32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6">
              <a:extLst>
                <a:ext uri="{FF2B5EF4-FFF2-40B4-BE49-F238E27FC236}">
                  <a16:creationId xmlns:a16="http://schemas.microsoft.com/office/drawing/2014/main" id="{DB306A2E-1BF6-4A07-9690-FC53B1223D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37">
              <a:extLst>
                <a:ext uri="{FF2B5EF4-FFF2-40B4-BE49-F238E27FC236}">
                  <a16:creationId xmlns:a16="http://schemas.microsoft.com/office/drawing/2014/main" id="{1C652AD9-38DC-4F46-8424-D4C3E37EB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8">
              <a:extLst>
                <a:ext uri="{FF2B5EF4-FFF2-40B4-BE49-F238E27FC236}">
                  <a16:creationId xmlns:a16="http://schemas.microsoft.com/office/drawing/2014/main" id="{CB0D9DA6-7857-4A66-ABCA-997149FA7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65319804"/>
      </p:ext>
    </p:extLst>
  </p:cSld>
  <p:clrMapOvr>
    <a:masterClrMapping/>
  </p:clrMapOvr>
  <p:transition>
    <p:fade/>
  </p:transition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76962DA8-3946-45F4-8E69-6C5A5D0FDA51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</p:grpSpPr>
        <p:sp>
          <p:nvSpPr>
            <p:cNvPr id="96" name="Freeform 35">
              <a:extLst>
                <a:ext uri="{FF2B5EF4-FFF2-40B4-BE49-F238E27FC236}">
                  <a16:creationId xmlns:a16="http://schemas.microsoft.com/office/drawing/2014/main" id="{F68F3447-FF6D-4C84-A329-6DF3FC124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2925EC3C-C5AD-423B-A876-A75A703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E6E88245-6443-472D-9693-A87140E05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982BDFEA-A0A4-44E9-8EA8-F02F0CBB5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B8958566-ABDB-422B-B617-1DFDF8751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295928F2-270C-4309-84EB-4646C48E2B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BB8A5515-EFCC-40B5-9216-109A7672A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B281D8A4-2545-43E0-85FA-F62B3E8D9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F1755C2E-6E2A-490F-905C-CF26668F65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B33345B1-BB5B-40D9-B78D-65F1668F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899AC099-F3D3-4124-A02D-C94633E98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065EBF4A-3DDD-40BD-A7AB-28DCB7257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79C38662-1E9A-47BA-A507-4D3427F153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BF2AD4B1-D8D7-47A3-A105-5B4893A9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E273DA43-D526-44FE-9097-6FD013CEC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15B7B554-10D0-4E5E-9B76-8EBE88E972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20">
              <a:extLst>
                <a:ext uri="{FF2B5EF4-FFF2-40B4-BE49-F238E27FC236}">
                  <a16:creationId xmlns:a16="http://schemas.microsoft.com/office/drawing/2014/main" id="{19214EA6-6066-4396-9FCF-29656CD0C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21">
              <a:extLst>
                <a:ext uri="{FF2B5EF4-FFF2-40B4-BE49-F238E27FC236}">
                  <a16:creationId xmlns:a16="http://schemas.microsoft.com/office/drawing/2014/main" id="{5120A081-BB0C-446B-84F7-E0025921B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22">
              <a:extLst>
                <a:ext uri="{FF2B5EF4-FFF2-40B4-BE49-F238E27FC236}">
                  <a16:creationId xmlns:a16="http://schemas.microsoft.com/office/drawing/2014/main" id="{AD067FAD-C1D9-4961-91BA-A699F2A3D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23">
              <a:extLst>
                <a:ext uri="{FF2B5EF4-FFF2-40B4-BE49-F238E27FC236}">
                  <a16:creationId xmlns:a16="http://schemas.microsoft.com/office/drawing/2014/main" id="{DEDF73B2-7BC7-413A-B3F5-0CE346B7E0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E2729BF3-6A11-4C62-9D72-FC40A6840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25">
              <a:extLst>
                <a:ext uri="{FF2B5EF4-FFF2-40B4-BE49-F238E27FC236}">
                  <a16:creationId xmlns:a16="http://schemas.microsoft.com/office/drawing/2014/main" id="{17EFF1FF-1D67-4D0C-8A53-6CBE71952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83160295-E7FA-4DC8-AD37-71C054DB5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id="{0D6886B9-D49D-4BB2-8803-E4D80952D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28">
              <a:extLst>
                <a:ext uri="{FF2B5EF4-FFF2-40B4-BE49-F238E27FC236}">
                  <a16:creationId xmlns:a16="http://schemas.microsoft.com/office/drawing/2014/main" id="{6765264D-FA70-403C-91CA-CACA3A61F0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79F793FD-366D-45A3-ABFA-69EAD7D29A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FC12139-4071-411E-BC30-5C3C00863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D2F1C46C-E7BB-432E-9348-D74B49AF6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8FE99CCB-A940-4573-8394-40CBC734B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3">
              <a:extLst>
                <a:ext uri="{FF2B5EF4-FFF2-40B4-BE49-F238E27FC236}">
                  <a16:creationId xmlns:a16="http://schemas.microsoft.com/office/drawing/2014/main" id="{B1FFF3E0-8DEA-4792-88AA-BF742789DC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4">
              <a:extLst>
                <a:ext uri="{FF2B5EF4-FFF2-40B4-BE49-F238E27FC236}">
                  <a16:creationId xmlns:a16="http://schemas.microsoft.com/office/drawing/2014/main" id="{C4FFB816-9F25-47E1-8724-058A6A743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5">
              <a:extLst>
                <a:ext uri="{FF2B5EF4-FFF2-40B4-BE49-F238E27FC236}">
                  <a16:creationId xmlns:a16="http://schemas.microsoft.com/office/drawing/2014/main" id="{9584E55B-460F-4FAB-B57E-547C4F202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Rectangle 36">
              <a:extLst>
                <a:ext uri="{FF2B5EF4-FFF2-40B4-BE49-F238E27FC236}">
                  <a16:creationId xmlns:a16="http://schemas.microsoft.com/office/drawing/2014/main" id="{7D1D4EE9-E3FA-492E-BDD3-634B06A14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">
              <a:extLst>
                <a:ext uri="{FF2B5EF4-FFF2-40B4-BE49-F238E27FC236}">
                  <a16:creationId xmlns:a16="http://schemas.microsoft.com/office/drawing/2014/main" id="{1B597172-5CB3-49F9-AF38-2F428F5D6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E0EA20E3-5919-45D8-94C5-6202497A497D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70550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with Image T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4611B0C6-169A-496D-B74E-4B99532730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381EB0A2-7408-42B6-AFE6-AA83B5BB5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8970BB06-440F-41F5-B35C-FD4E30172E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5DA9CFC1-1628-42BC-94F6-99784B5BA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77497D98-687C-4A46-9A09-B2F802610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16F7CAF0-72CE-483F-AF59-819238668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91B84665-0CCE-4C9A-8330-2416D22A0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A2D39C74-F0C0-4F2F-B5D4-C0F2BE27D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C675E21A-FC3D-46FD-A00E-4BD50F7EEB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44B0D593-DF4A-493C-A818-C95E22156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D814135B-B0D9-493B-B4CD-B7D76A724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FB676E12-A7ED-493D-85AE-B86B09EDA1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5B68F904-15F9-43CF-9E1A-B3F8F78E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EE9652B-8AE4-4741-8235-B09EA907D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9AE6C564-B72F-443F-B40A-0EF707501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20EC421D-C461-4CF7-94B4-F68F0F69B6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9D978835-5A32-49FA-A391-BBBDEE438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1">
              <a:extLst>
                <a:ext uri="{FF2B5EF4-FFF2-40B4-BE49-F238E27FC236}">
                  <a16:creationId xmlns:a16="http://schemas.microsoft.com/office/drawing/2014/main" id="{74E7DF46-0089-46BF-AB63-469E1C52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22">
              <a:extLst>
                <a:ext uri="{FF2B5EF4-FFF2-40B4-BE49-F238E27FC236}">
                  <a16:creationId xmlns:a16="http://schemas.microsoft.com/office/drawing/2014/main" id="{3484D283-777D-4472-8751-1F0D1CBE1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23">
              <a:extLst>
                <a:ext uri="{FF2B5EF4-FFF2-40B4-BE49-F238E27FC236}">
                  <a16:creationId xmlns:a16="http://schemas.microsoft.com/office/drawing/2014/main" id="{3F408598-C619-4AE6-B654-31405EE40E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24">
              <a:extLst>
                <a:ext uri="{FF2B5EF4-FFF2-40B4-BE49-F238E27FC236}">
                  <a16:creationId xmlns:a16="http://schemas.microsoft.com/office/drawing/2014/main" id="{501E9AE9-32C3-4351-8DCE-B6F15F403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25">
              <a:extLst>
                <a:ext uri="{FF2B5EF4-FFF2-40B4-BE49-F238E27FC236}">
                  <a16:creationId xmlns:a16="http://schemas.microsoft.com/office/drawing/2014/main" id="{C088D593-4B41-4774-8589-651581473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6">
              <a:extLst>
                <a:ext uri="{FF2B5EF4-FFF2-40B4-BE49-F238E27FC236}">
                  <a16:creationId xmlns:a16="http://schemas.microsoft.com/office/drawing/2014/main" id="{F09A4A44-D734-4691-9973-10B0260A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id="{C4762F20-8231-4C45-A77C-28C11B5FD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28">
              <a:extLst>
                <a:ext uri="{FF2B5EF4-FFF2-40B4-BE49-F238E27FC236}">
                  <a16:creationId xmlns:a16="http://schemas.microsoft.com/office/drawing/2014/main" id="{AA16422E-691C-4A0A-829F-A0B4A15E3C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29">
              <a:extLst>
                <a:ext uri="{FF2B5EF4-FFF2-40B4-BE49-F238E27FC236}">
                  <a16:creationId xmlns:a16="http://schemas.microsoft.com/office/drawing/2014/main" id="{4D283C37-8C5D-422D-BBA0-93825493E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30">
              <a:extLst>
                <a:ext uri="{FF2B5EF4-FFF2-40B4-BE49-F238E27FC236}">
                  <a16:creationId xmlns:a16="http://schemas.microsoft.com/office/drawing/2014/main" id="{8A197DED-36E7-42F0-805B-601E0E053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31">
              <a:extLst>
                <a:ext uri="{FF2B5EF4-FFF2-40B4-BE49-F238E27FC236}">
                  <a16:creationId xmlns:a16="http://schemas.microsoft.com/office/drawing/2014/main" id="{54CE7818-5AB9-4FE8-8D07-CBCE89B2B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32">
              <a:extLst>
                <a:ext uri="{FF2B5EF4-FFF2-40B4-BE49-F238E27FC236}">
                  <a16:creationId xmlns:a16="http://schemas.microsoft.com/office/drawing/2014/main" id="{A71CC3A6-BE24-4FE8-AB77-9E92D79F1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33">
              <a:extLst>
                <a:ext uri="{FF2B5EF4-FFF2-40B4-BE49-F238E27FC236}">
                  <a16:creationId xmlns:a16="http://schemas.microsoft.com/office/drawing/2014/main" id="{5F3D7123-6F09-4A17-8BED-6A024C941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34">
              <a:extLst>
                <a:ext uri="{FF2B5EF4-FFF2-40B4-BE49-F238E27FC236}">
                  <a16:creationId xmlns:a16="http://schemas.microsoft.com/office/drawing/2014/main" id="{08694CBF-D0CD-46A6-A330-142769E45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35">
              <a:extLst>
                <a:ext uri="{FF2B5EF4-FFF2-40B4-BE49-F238E27FC236}">
                  <a16:creationId xmlns:a16="http://schemas.microsoft.com/office/drawing/2014/main" id="{86C7A668-04B8-4833-9B50-930C67A9D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6">
              <a:extLst>
                <a:ext uri="{FF2B5EF4-FFF2-40B4-BE49-F238E27FC236}">
                  <a16:creationId xmlns:a16="http://schemas.microsoft.com/office/drawing/2014/main" id="{9A1FD8B3-E0C4-41C0-A7CD-167FCF4BC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37">
              <a:extLst>
                <a:ext uri="{FF2B5EF4-FFF2-40B4-BE49-F238E27FC236}">
                  <a16:creationId xmlns:a16="http://schemas.microsoft.com/office/drawing/2014/main" id="{79C6ED9B-7BA6-4684-8942-5EC446B04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38">
              <a:extLst>
                <a:ext uri="{FF2B5EF4-FFF2-40B4-BE49-F238E27FC236}">
                  <a16:creationId xmlns:a16="http://schemas.microsoft.com/office/drawing/2014/main" id="{D12556DD-DC21-49FC-8B27-3316607EA4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365897"/>
      </p:ext>
    </p:extLst>
  </p:cSld>
  <p:clrMapOvr>
    <a:masterClrMapping/>
  </p:clrMapOvr>
  <p:transition>
    <p:fade/>
  </p:transition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AF9DE7A-A166-467A-B7B0-1372DBC934B2}"/>
              </a:ext>
            </a:extLst>
          </p:cNvPr>
          <p:cNvGrpSpPr/>
          <p:nvPr/>
        </p:nvGrpSpPr>
        <p:grpSpPr>
          <a:xfrm>
            <a:off x="9604942" y="5583266"/>
            <a:ext cx="2209233" cy="800347"/>
            <a:chOff x="6502970" y="5583266"/>
            <a:chExt cx="2209233" cy="800347"/>
          </a:xfrm>
        </p:grpSpPr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9C981CA9-177C-4EF8-9180-5906D04E5C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870" y="6265111"/>
              <a:ext cx="66333" cy="65472"/>
            </a:xfrm>
            <a:custGeom>
              <a:avLst/>
              <a:gdLst>
                <a:gd name="T0" fmla="*/ 173 w 346"/>
                <a:gd name="T1" fmla="*/ 341 h 342"/>
                <a:gd name="T2" fmla="*/ 85 w 346"/>
                <a:gd name="T3" fmla="*/ 321 h 342"/>
                <a:gd name="T4" fmla="*/ 27 w 346"/>
                <a:gd name="T5" fmla="*/ 264 h 342"/>
                <a:gd name="T6" fmla="*/ 27 w 346"/>
                <a:gd name="T7" fmla="*/ 84 h 342"/>
                <a:gd name="T8" fmla="*/ 85 w 346"/>
                <a:gd name="T9" fmla="*/ 27 h 342"/>
                <a:gd name="T10" fmla="*/ 260 w 346"/>
                <a:gd name="T11" fmla="*/ 27 h 342"/>
                <a:gd name="T12" fmla="*/ 318 w 346"/>
                <a:gd name="T13" fmla="*/ 84 h 342"/>
                <a:gd name="T14" fmla="*/ 318 w 346"/>
                <a:gd name="T15" fmla="*/ 264 h 342"/>
                <a:gd name="T16" fmla="*/ 260 w 346"/>
                <a:gd name="T17" fmla="*/ 321 h 342"/>
                <a:gd name="T18" fmla="*/ 173 w 346"/>
                <a:gd name="T19" fmla="*/ 341 h 342"/>
                <a:gd name="T20" fmla="*/ 173 w 346"/>
                <a:gd name="T21" fmla="*/ 309 h 342"/>
                <a:gd name="T22" fmla="*/ 268 w 346"/>
                <a:gd name="T23" fmla="*/ 274 h 342"/>
                <a:gd name="T24" fmla="*/ 304 w 346"/>
                <a:gd name="T25" fmla="*/ 174 h 342"/>
                <a:gd name="T26" fmla="*/ 268 w 346"/>
                <a:gd name="T27" fmla="*/ 74 h 342"/>
                <a:gd name="T28" fmla="*/ 78 w 346"/>
                <a:gd name="T29" fmla="*/ 74 h 342"/>
                <a:gd name="T30" fmla="*/ 42 w 346"/>
                <a:gd name="T31" fmla="*/ 174 h 342"/>
                <a:gd name="T32" fmla="*/ 78 w 346"/>
                <a:gd name="T33" fmla="*/ 274 h 342"/>
                <a:gd name="T34" fmla="*/ 173 w 346"/>
                <a:gd name="T35" fmla="*/ 309 h 342"/>
                <a:gd name="T36" fmla="*/ 112 w 346"/>
                <a:gd name="T37" fmla="*/ 249 h 342"/>
                <a:gd name="T38" fmla="*/ 112 w 346"/>
                <a:gd name="T39" fmla="*/ 97 h 342"/>
                <a:gd name="T40" fmla="*/ 174 w 346"/>
                <a:gd name="T41" fmla="*/ 97 h 342"/>
                <a:gd name="T42" fmla="*/ 234 w 346"/>
                <a:gd name="T43" fmla="*/ 143 h 342"/>
                <a:gd name="T44" fmla="*/ 200 w 346"/>
                <a:gd name="T45" fmla="*/ 187 h 342"/>
                <a:gd name="T46" fmla="*/ 226 w 346"/>
                <a:gd name="T47" fmla="*/ 217 h 342"/>
                <a:gd name="T48" fmla="*/ 245 w 346"/>
                <a:gd name="T49" fmla="*/ 249 h 342"/>
                <a:gd name="T50" fmla="*/ 210 w 346"/>
                <a:gd name="T51" fmla="*/ 249 h 342"/>
                <a:gd name="T52" fmla="*/ 192 w 346"/>
                <a:gd name="T53" fmla="*/ 218 h 342"/>
                <a:gd name="T54" fmla="*/ 167 w 346"/>
                <a:gd name="T55" fmla="*/ 190 h 342"/>
                <a:gd name="T56" fmla="*/ 143 w 346"/>
                <a:gd name="T57" fmla="*/ 190 h 342"/>
                <a:gd name="T58" fmla="*/ 143 w 346"/>
                <a:gd name="T59" fmla="*/ 249 h 342"/>
                <a:gd name="T60" fmla="*/ 112 w 346"/>
                <a:gd name="T61" fmla="*/ 249 h 342"/>
                <a:gd name="T62" fmla="*/ 173 w 346"/>
                <a:gd name="T63" fmla="*/ 121 h 342"/>
                <a:gd name="T64" fmla="*/ 143 w 346"/>
                <a:gd name="T65" fmla="*/ 121 h 342"/>
                <a:gd name="T66" fmla="*/ 143 w 346"/>
                <a:gd name="T67" fmla="*/ 167 h 342"/>
                <a:gd name="T68" fmla="*/ 173 w 346"/>
                <a:gd name="T69" fmla="*/ 167 h 342"/>
                <a:gd name="T70" fmla="*/ 202 w 346"/>
                <a:gd name="T71" fmla="*/ 144 h 342"/>
                <a:gd name="T72" fmla="*/ 173 w 346"/>
                <a:gd name="T73" fmla="*/ 12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" h="342">
                  <a:moveTo>
                    <a:pt x="173" y="341"/>
                  </a:moveTo>
                  <a:cubicBezTo>
                    <a:pt x="142" y="342"/>
                    <a:pt x="112" y="335"/>
                    <a:pt x="85" y="321"/>
                  </a:cubicBezTo>
                  <a:cubicBezTo>
                    <a:pt x="61" y="308"/>
                    <a:pt x="41" y="289"/>
                    <a:pt x="27" y="264"/>
                  </a:cubicBezTo>
                  <a:cubicBezTo>
                    <a:pt x="0" y="207"/>
                    <a:pt x="0" y="141"/>
                    <a:pt x="27" y="84"/>
                  </a:cubicBezTo>
                  <a:cubicBezTo>
                    <a:pt x="41" y="59"/>
                    <a:pt x="61" y="39"/>
                    <a:pt x="85" y="27"/>
                  </a:cubicBezTo>
                  <a:cubicBezTo>
                    <a:pt x="141" y="0"/>
                    <a:pt x="205" y="0"/>
                    <a:pt x="260" y="27"/>
                  </a:cubicBezTo>
                  <a:cubicBezTo>
                    <a:pt x="285" y="39"/>
                    <a:pt x="305" y="59"/>
                    <a:pt x="318" y="84"/>
                  </a:cubicBezTo>
                  <a:cubicBezTo>
                    <a:pt x="346" y="141"/>
                    <a:pt x="346" y="207"/>
                    <a:pt x="318" y="264"/>
                  </a:cubicBezTo>
                  <a:cubicBezTo>
                    <a:pt x="305" y="289"/>
                    <a:pt x="285" y="308"/>
                    <a:pt x="260" y="321"/>
                  </a:cubicBezTo>
                  <a:cubicBezTo>
                    <a:pt x="233" y="335"/>
                    <a:pt x="203" y="342"/>
                    <a:pt x="173" y="341"/>
                  </a:cubicBezTo>
                  <a:close/>
                  <a:moveTo>
                    <a:pt x="173" y="309"/>
                  </a:moveTo>
                  <a:cubicBezTo>
                    <a:pt x="208" y="311"/>
                    <a:pt x="242" y="298"/>
                    <a:pt x="268" y="274"/>
                  </a:cubicBezTo>
                  <a:cubicBezTo>
                    <a:pt x="292" y="251"/>
                    <a:pt x="304" y="218"/>
                    <a:pt x="304" y="174"/>
                  </a:cubicBezTo>
                  <a:cubicBezTo>
                    <a:pt x="304" y="130"/>
                    <a:pt x="292" y="97"/>
                    <a:pt x="268" y="74"/>
                  </a:cubicBezTo>
                  <a:cubicBezTo>
                    <a:pt x="213" y="27"/>
                    <a:pt x="133" y="27"/>
                    <a:pt x="78" y="74"/>
                  </a:cubicBezTo>
                  <a:cubicBezTo>
                    <a:pt x="54" y="97"/>
                    <a:pt x="42" y="130"/>
                    <a:pt x="42" y="174"/>
                  </a:cubicBezTo>
                  <a:cubicBezTo>
                    <a:pt x="42" y="218"/>
                    <a:pt x="54" y="251"/>
                    <a:pt x="78" y="274"/>
                  </a:cubicBezTo>
                  <a:cubicBezTo>
                    <a:pt x="103" y="298"/>
                    <a:pt x="138" y="311"/>
                    <a:pt x="173" y="309"/>
                  </a:cubicBezTo>
                  <a:close/>
                  <a:moveTo>
                    <a:pt x="112" y="249"/>
                  </a:moveTo>
                  <a:cubicBezTo>
                    <a:pt x="112" y="97"/>
                    <a:pt x="112" y="97"/>
                    <a:pt x="112" y="97"/>
                  </a:cubicBezTo>
                  <a:cubicBezTo>
                    <a:pt x="174" y="97"/>
                    <a:pt x="174" y="97"/>
                    <a:pt x="174" y="97"/>
                  </a:cubicBezTo>
                  <a:cubicBezTo>
                    <a:pt x="214" y="97"/>
                    <a:pt x="234" y="113"/>
                    <a:pt x="234" y="143"/>
                  </a:cubicBezTo>
                  <a:cubicBezTo>
                    <a:pt x="236" y="164"/>
                    <a:pt x="221" y="184"/>
                    <a:pt x="200" y="187"/>
                  </a:cubicBezTo>
                  <a:cubicBezTo>
                    <a:pt x="210" y="197"/>
                    <a:pt x="218" y="206"/>
                    <a:pt x="226" y="217"/>
                  </a:cubicBezTo>
                  <a:cubicBezTo>
                    <a:pt x="233" y="227"/>
                    <a:pt x="239" y="238"/>
                    <a:pt x="245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05" y="238"/>
                    <a:pt x="199" y="228"/>
                    <a:pt x="192" y="218"/>
                  </a:cubicBezTo>
                  <a:cubicBezTo>
                    <a:pt x="185" y="208"/>
                    <a:pt x="177" y="198"/>
                    <a:pt x="167" y="190"/>
                  </a:cubicBezTo>
                  <a:cubicBezTo>
                    <a:pt x="143" y="190"/>
                    <a:pt x="143" y="190"/>
                    <a:pt x="143" y="190"/>
                  </a:cubicBezTo>
                  <a:cubicBezTo>
                    <a:pt x="143" y="249"/>
                    <a:pt x="143" y="249"/>
                    <a:pt x="143" y="249"/>
                  </a:cubicBezTo>
                  <a:lnTo>
                    <a:pt x="112" y="249"/>
                  </a:lnTo>
                  <a:close/>
                  <a:moveTo>
                    <a:pt x="173" y="121"/>
                  </a:moveTo>
                  <a:cubicBezTo>
                    <a:pt x="143" y="121"/>
                    <a:pt x="143" y="121"/>
                    <a:pt x="143" y="121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73" y="167"/>
                    <a:pt x="173" y="167"/>
                    <a:pt x="173" y="167"/>
                  </a:cubicBezTo>
                  <a:cubicBezTo>
                    <a:pt x="193" y="167"/>
                    <a:pt x="202" y="159"/>
                    <a:pt x="202" y="144"/>
                  </a:cubicBezTo>
                  <a:cubicBezTo>
                    <a:pt x="202" y="128"/>
                    <a:pt x="193" y="121"/>
                    <a:pt x="173" y="12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5DAEAD3E-6A95-4AD5-8C0B-7E63CF7CA8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353" y="5583266"/>
              <a:ext cx="463964" cy="464347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746C28D8-866A-475F-B2FE-D9CB2FD89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3825" y="6029989"/>
              <a:ext cx="1021027" cy="114937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70CF04DB-EEC0-4AC3-868E-123C8EA6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105" y="5699353"/>
              <a:ext cx="244817" cy="236388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A8DB65DE-D721-432D-9C42-F2CA03065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3162" y="5695521"/>
              <a:ext cx="180069" cy="246349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1EA9AD37-625B-4BCA-8D9A-FD588F2903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919" y="5699353"/>
              <a:ext cx="199608" cy="233706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id="{C77CA41A-2C3D-4CFA-8BCF-DC3D032CC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970" y="6267909"/>
              <a:ext cx="83138" cy="113022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9F5AD569-0A83-49C5-81B3-BC1AC6A25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2" y="6267909"/>
              <a:ext cx="65514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B226873A-AA00-4156-9D1D-13ECE2BC3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6525" y="6301241"/>
              <a:ext cx="66664" cy="82372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59F5B4F0-A3AA-4590-975B-62E754085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398" y="6265228"/>
              <a:ext cx="79690" cy="118002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1BAA44C8-63F1-4633-B59A-05BD28665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3" y="6300858"/>
              <a:ext cx="60151" cy="82372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8C712C48-FA8F-45A2-9B28-1BBCAD8B7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0076" y="6270591"/>
              <a:ext cx="16857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4AEB793E-940C-408D-AF76-3B1FF8727E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8811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id="{BC2B33E6-2136-464B-957A-1CE736F7C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884" y="6301241"/>
              <a:ext cx="67430" cy="79690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AE5A8CCE-F4CF-4A66-8C8B-772B249BB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957" y="6300858"/>
              <a:ext cx="60534" cy="82372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id="{8465204E-FC32-458C-9EBB-846621FC08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5237" y="6301241"/>
              <a:ext cx="65897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0">
              <a:extLst>
                <a:ext uri="{FF2B5EF4-FFF2-40B4-BE49-F238E27FC236}">
                  <a16:creationId xmlns:a16="http://schemas.microsoft.com/office/drawing/2014/main" id="{EA2FF2D6-FBE2-443C-95DB-B1A2F6F59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7876" y="6301241"/>
              <a:ext cx="69729" cy="81606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A14CEBED-7C9A-4763-9E83-EC92C43E0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118" y="6264844"/>
              <a:ext cx="59384" cy="116087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2">
              <a:extLst>
                <a:ext uri="{FF2B5EF4-FFF2-40B4-BE49-F238E27FC236}">
                  <a16:creationId xmlns:a16="http://schemas.microsoft.com/office/drawing/2014/main" id="{8FFB1A0D-18F4-41CC-9DA2-1914DECF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496" y="6267909"/>
              <a:ext cx="83138" cy="113022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9362ADD7-EAE0-49E1-BA29-89A3DADBF1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1044" y="6301241"/>
              <a:ext cx="66281" cy="82372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121F5A1E-D731-4B12-9552-77DC9740C5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8818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25">
              <a:extLst>
                <a:ext uri="{FF2B5EF4-FFF2-40B4-BE49-F238E27FC236}">
                  <a16:creationId xmlns:a16="http://schemas.microsoft.com/office/drawing/2014/main" id="{2FF2754E-5465-46A2-BD9C-A435E08AD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891" y="6267909"/>
              <a:ext cx="13409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">
              <a:extLst>
                <a:ext uri="{FF2B5EF4-FFF2-40B4-BE49-F238E27FC236}">
                  <a16:creationId xmlns:a16="http://schemas.microsoft.com/office/drawing/2014/main" id="{C460BA6E-9A39-4116-B1EA-FCBEB8E3A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645" y="6281319"/>
              <a:ext cx="58618" cy="101145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7">
              <a:extLst>
                <a:ext uri="{FF2B5EF4-FFF2-40B4-BE49-F238E27FC236}">
                  <a16:creationId xmlns:a16="http://schemas.microsoft.com/office/drawing/2014/main" id="{AF015C49-54F8-409E-9E03-9E83D9034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607" y="6267909"/>
              <a:ext cx="65131" cy="113022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8">
              <a:extLst>
                <a:ext uri="{FF2B5EF4-FFF2-40B4-BE49-F238E27FC236}">
                  <a16:creationId xmlns:a16="http://schemas.microsoft.com/office/drawing/2014/main" id="{E35C5C6E-D07E-42DC-BD34-8866D1A47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596" y="6270591"/>
              <a:ext cx="16474" cy="110340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9">
              <a:extLst>
                <a:ext uri="{FF2B5EF4-FFF2-40B4-BE49-F238E27FC236}">
                  <a16:creationId xmlns:a16="http://schemas.microsoft.com/office/drawing/2014/main" id="{68EC0A13-8726-4598-BD7B-4E6EF250E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3862" y="6301241"/>
              <a:ext cx="66281" cy="82372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30">
              <a:extLst>
                <a:ext uri="{FF2B5EF4-FFF2-40B4-BE49-F238E27FC236}">
                  <a16:creationId xmlns:a16="http://schemas.microsoft.com/office/drawing/2014/main" id="{3DE1867A-E9E3-41EB-9147-A28C719F7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935" y="6301241"/>
              <a:ext cx="49040" cy="79690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5A38A18E-FEF4-4FDB-9B34-DAFA3198C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71" y="6267909"/>
              <a:ext cx="93099" cy="113022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32">
              <a:extLst>
                <a:ext uri="{FF2B5EF4-FFF2-40B4-BE49-F238E27FC236}">
                  <a16:creationId xmlns:a16="http://schemas.microsoft.com/office/drawing/2014/main" id="{98607333-1B4D-485E-A1D5-8E678FF42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48" y="6301241"/>
              <a:ext cx="67430" cy="79690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33">
              <a:extLst>
                <a:ext uri="{FF2B5EF4-FFF2-40B4-BE49-F238E27FC236}">
                  <a16:creationId xmlns:a16="http://schemas.microsoft.com/office/drawing/2014/main" id="{6341C51F-B5EF-491A-BD73-E1533BA61F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253" y="6270591"/>
              <a:ext cx="16474" cy="110340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34">
              <a:extLst>
                <a:ext uri="{FF2B5EF4-FFF2-40B4-BE49-F238E27FC236}">
                  <a16:creationId xmlns:a16="http://schemas.microsoft.com/office/drawing/2014/main" id="{F5D4A090-7EFE-4C72-BC7C-6760775D5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818" y="6300858"/>
              <a:ext cx="114171" cy="80073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5">
              <a:extLst>
                <a:ext uri="{FF2B5EF4-FFF2-40B4-BE49-F238E27FC236}">
                  <a16:creationId xmlns:a16="http://schemas.microsoft.com/office/drawing/2014/main" id="{A849BC09-607F-493F-AC87-832D66E1C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6866" y="6300858"/>
              <a:ext cx="63982" cy="81989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6">
              <a:extLst>
                <a:ext uri="{FF2B5EF4-FFF2-40B4-BE49-F238E27FC236}">
                  <a16:creationId xmlns:a16="http://schemas.microsoft.com/office/drawing/2014/main" id="{5248CDB1-D4AF-4FD1-9735-02C2C6FC6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7705" y="6267909"/>
              <a:ext cx="13792" cy="113022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7">
              <a:extLst>
                <a:ext uri="{FF2B5EF4-FFF2-40B4-BE49-F238E27FC236}">
                  <a16:creationId xmlns:a16="http://schemas.microsoft.com/office/drawing/2014/main" id="{2582B259-6F06-4E9E-A5FD-8F8FC2186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141" y="6300858"/>
              <a:ext cx="61300" cy="82755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3212445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12991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ank White T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76008749-DFE1-4C5E-B990-BCDA7BFD8B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942" y="5583266"/>
            <a:ext cx="2206797" cy="800347"/>
            <a:chOff x="0" y="1116"/>
            <a:chExt cx="5760" cy="2089"/>
          </a:xfrm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4DB503FB-6687-4FBB-998B-05BA8923A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116"/>
              <a:ext cx="1211" cy="1212"/>
            </a:xfrm>
            <a:custGeom>
              <a:avLst/>
              <a:gdLst>
                <a:gd name="T0" fmla="*/ 572 w 2292"/>
                <a:gd name="T1" fmla="*/ 574 h 2293"/>
                <a:gd name="T2" fmla="*/ 1145 w 2292"/>
                <a:gd name="T3" fmla="*/ 1 h 2293"/>
                <a:gd name="T4" fmla="*/ 1719 w 2292"/>
                <a:gd name="T5" fmla="*/ 574 h 2293"/>
                <a:gd name="T6" fmla="*/ 1719 w 2292"/>
                <a:gd name="T7" fmla="*/ 574 h 2293"/>
                <a:gd name="T8" fmla="*/ 572 w 2292"/>
                <a:gd name="T9" fmla="*/ 574 h 2293"/>
                <a:gd name="T10" fmla="*/ 572 w 2292"/>
                <a:gd name="T11" fmla="*/ 1720 h 2293"/>
                <a:gd name="T12" fmla="*/ 1146 w 2292"/>
                <a:gd name="T13" fmla="*/ 2293 h 2293"/>
                <a:gd name="T14" fmla="*/ 1719 w 2292"/>
                <a:gd name="T15" fmla="*/ 1720 h 2293"/>
                <a:gd name="T16" fmla="*/ 572 w 2292"/>
                <a:gd name="T17" fmla="*/ 1720 h 2293"/>
                <a:gd name="T18" fmla="*/ 1091 w 2292"/>
                <a:gd name="T19" fmla="*/ 1145 h 2293"/>
                <a:gd name="T20" fmla="*/ 572 w 2292"/>
                <a:gd name="T21" fmla="*/ 574 h 2293"/>
                <a:gd name="T22" fmla="*/ 0 w 2292"/>
                <a:gd name="T23" fmla="*/ 1148 h 2293"/>
                <a:gd name="T24" fmla="*/ 572 w 2292"/>
                <a:gd name="T25" fmla="*/ 1720 h 2293"/>
                <a:gd name="T26" fmla="*/ 1091 w 2292"/>
                <a:gd name="T27" fmla="*/ 1150 h 2293"/>
                <a:gd name="T28" fmla="*/ 1091 w 2292"/>
                <a:gd name="T29" fmla="*/ 1145 h 2293"/>
                <a:gd name="T30" fmla="*/ 1200 w 2292"/>
                <a:gd name="T31" fmla="*/ 1150 h 2293"/>
                <a:gd name="T32" fmla="*/ 1719 w 2292"/>
                <a:gd name="T33" fmla="*/ 1720 h 2293"/>
                <a:gd name="T34" fmla="*/ 2291 w 2292"/>
                <a:gd name="T35" fmla="*/ 1146 h 2293"/>
                <a:gd name="T36" fmla="*/ 1719 w 2292"/>
                <a:gd name="T37" fmla="*/ 574 h 2293"/>
                <a:gd name="T38" fmla="*/ 1200 w 2292"/>
                <a:gd name="T39" fmla="*/ 1145 h 2293"/>
                <a:gd name="T40" fmla="*/ 1200 w 2292"/>
                <a:gd name="T41" fmla="*/ 115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92" h="2293">
                  <a:moveTo>
                    <a:pt x="572" y="574"/>
                  </a:moveTo>
                  <a:cubicBezTo>
                    <a:pt x="572" y="257"/>
                    <a:pt x="829" y="1"/>
                    <a:pt x="1145" y="1"/>
                  </a:cubicBezTo>
                  <a:cubicBezTo>
                    <a:pt x="1462" y="0"/>
                    <a:pt x="1719" y="257"/>
                    <a:pt x="1719" y="574"/>
                  </a:cubicBezTo>
                  <a:cubicBezTo>
                    <a:pt x="1719" y="574"/>
                    <a:pt x="1719" y="574"/>
                    <a:pt x="1719" y="574"/>
                  </a:cubicBezTo>
                  <a:cubicBezTo>
                    <a:pt x="572" y="574"/>
                    <a:pt x="572" y="574"/>
                    <a:pt x="572" y="574"/>
                  </a:cubicBezTo>
                  <a:moveTo>
                    <a:pt x="572" y="1720"/>
                  </a:moveTo>
                  <a:cubicBezTo>
                    <a:pt x="573" y="2037"/>
                    <a:pt x="829" y="2293"/>
                    <a:pt x="1146" y="2293"/>
                  </a:cubicBezTo>
                  <a:cubicBezTo>
                    <a:pt x="1462" y="2293"/>
                    <a:pt x="1719" y="2037"/>
                    <a:pt x="1719" y="1720"/>
                  </a:cubicBezTo>
                  <a:lnTo>
                    <a:pt x="572" y="1720"/>
                  </a:lnTo>
                  <a:close/>
                  <a:moveTo>
                    <a:pt x="1091" y="1145"/>
                  </a:moveTo>
                  <a:cubicBezTo>
                    <a:pt x="797" y="1116"/>
                    <a:pt x="572" y="869"/>
                    <a:pt x="572" y="574"/>
                  </a:cubicBezTo>
                  <a:cubicBezTo>
                    <a:pt x="256" y="574"/>
                    <a:pt x="0" y="831"/>
                    <a:pt x="0" y="1148"/>
                  </a:cubicBezTo>
                  <a:cubicBezTo>
                    <a:pt x="1" y="1464"/>
                    <a:pt x="256" y="1720"/>
                    <a:pt x="572" y="1720"/>
                  </a:cubicBezTo>
                  <a:cubicBezTo>
                    <a:pt x="572" y="1425"/>
                    <a:pt x="797" y="1178"/>
                    <a:pt x="1091" y="1150"/>
                  </a:cubicBezTo>
                  <a:lnTo>
                    <a:pt x="1091" y="1145"/>
                  </a:lnTo>
                  <a:close/>
                  <a:moveTo>
                    <a:pt x="1200" y="1150"/>
                  </a:moveTo>
                  <a:cubicBezTo>
                    <a:pt x="1494" y="1178"/>
                    <a:pt x="1719" y="1425"/>
                    <a:pt x="1719" y="1720"/>
                  </a:cubicBezTo>
                  <a:cubicBezTo>
                    <a:pt x="2035" y="1720"/>
                    <a:pt x="2292" y="1463"/>
                    <a:pt x="2291" y="1146"/>
                  </a:cubicBezTo>
                  <a:cubicBezTo>
                    <a:pt x="2291" y="830"/>
                    <a:pt x="2035" y="574"/>
                    <a:pt x="1719" y="574"/>
                  </a:cubicBezTo>
                  <a:cubicBezTo>
                    <a:pt x="1719" y="869"/>
                    <a:pt x="1494" y="1116"/>
                    <a:pt x="1200" y="1145"/>
                  </a:cubicBezTo>
                  <a:lnTo>
                    <a:pt x="1200" y="115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8CCD1504-3F33-4477-8E03-94700779B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" y="2282"/>
              <a:ext cx="2665" cy="300"/>
            </a:xfrm>
            <a:custGeom>
              <a:avLst/>
              <a:gdLst>
                <a:gd name="T0" fmla="*/ 138 w 5043"/>
                <a:gd name="T1" fmla="*/ 408 h 567"/>
                <a:gd name="T2" fmla="*/ 537 w 5043"/>
                <a:gd name="T3" fmla="*/ 552 h 567"/>
                <a:gd name="T4" fmla="*/ 0 w 5043"/>
                <a:gd name="T5" fmla="*/ 552 h 567"/>
                <a:gd name="T6" fmla="*/ 162 w 5043"/>
                <a:gd name="T7" fmla="*/ 346 h 567"/>
                <a:gd name="T8" fmla="*/ 686 w 5043"/>
                <a:gd name="T9" fmla="*/ 552 h 567"/>
                <a:gd name="T10" fmla="*/ 854 w 5043"/>
                <a:gd name="T11" fmla="*/ 242 h 567"/>
                <a:gd name="T12" fmla="*/ 948 w 5043"/>
                <a:gd name="T13" fmla="*/ 552 h 567"/>
                <a:gd name="T14" fmla="*/ 686 w 5043"/>
                <a:gd name="T15" fmla="*/ 230 h 567"/>
                <a:gd name="T16" fmla="*/ 614 w 5043"/>
                <a:gd name="T17" fmla="*/ 213 h 567"/>
                <a:gd name="T18" fmla="*/ 1158 w 5043"/>
                <a:gd name="T19" fmla="*/ 80 h 567"/>
                <a:gd name="T20" fmla="*/ 1072 w 5043"/>
                <a:gd name="T21" fmla="*/ 80 h 567"/>
                <a:gd name="T22" fmla="*/ 1151 w 5043"/>
                <a:gd name="T23" fmla="*/ 168 h 567"/>
                <a:gd name="T24" fmla="*/ 1290 w 5043"/>
                <a:gd name="T25" fmla="*/ 552 h 567"/>
                <a:gd name="T26" fmla="*/ 1380 w 5043"/>
                <a:gd name="T27" fmla="*/ 256 h 567"/>
                <a:gd name="T28" fmla="*/ 1548 w 5043"/>
                <a:gd name="T29" fmla="*/ 552 h 567"/>
                <a:gd name="T30" fmla="*/ 1637 w 5043"/>
                <a:gd name="T31" fmla="*/ 255 h 567"/>
                <a:gd name="T32" fmla="*/ 1805 w 5043"/>
                <a:gd name="T33" fmla="*/ 306 h 567"/>
                <a:gd name="T34" fmla="*/ 1878 w 5043"/>
                <a:gd name="T35" fmla="*/ 294 h 567"/>
                <a:gd name="T36" fmla="*/ 1483 w 5043"/>
                <a:gd name="T37" fmla="*/ 158 h 567"/>
                <a:gd name="T38" fmla="*/ 1289 w 5043"/>
                <a:gd name="T39" fmla="*/ 168 h 567"/>
                <a:gd name="T40" fmla="*/ 2311 w 5043"/>
                <a:gd name="T41" fmla="*/ 552 h 567"/>
                <a:gd name="T42" fmla="*/ 2295 w 5043"/>
                <a:gd name="T43" fmla="*/ 213 h 567"/>
                <a:gd name="T44" fmla="*/ 2009 w 5043"/>
                <a:gd name="T45" fmla="*/ 271 h 567"/>
                <a:gd name="T46" fmla="*/ 2224 w 5043"/>
                <a:gd name="T47" fmla="*/ 231 h 567"/>
                <a:gd name="T48" fmla="*/ 2053 w 5043"/>
                <a:gd name="T49" fmla="*/ 339 h 567"/>
                <a:gd name="T50" fmla="*/ 2239 w 5043"/>
                <a:gd name="T51" fmla="*/ 495 h 567"/>
                <a:gd name="T52" fmla="*/ 2238 w 5043"/>
                <a:gd name="T53" fmla="*/ 365 h 567"/>
                <a:gd name="T54" fmla="*/ 2058 w 5043"/>
                <a:gd name="T55" fmla="*/ 441 h 567"/>
                <a:gd name="T56" fmla="*/ 2439 w 5043"/>
                <a:gd name="T57" fmla="*/ 552 h 567"/>
                <a:gd name="T58" fmla="*/ 2439 w 5043"/>
                <a:gd name="T59" fmla="*/ 1 h 567"/>
                <a:gd name="T60" fmla="*/ 2862 w 5043"/>
                <a:gd name="T61" fmla="*/ 552 h 567"/>
                <a:gd name="T62" fmla="*/ 3201 w 5043"/>
                <a:gd name="T63" fmla="*/ 303 h 567"/>
                <a:gd name="T64" fmla="*/ 3277 w 5043"/>
                <a:gd name="T65" fmla="*/ 0 h 567"/>
                <a:gd name="T66" fmla="*/ 2939 w 5043"/>
                <a:gd name="T67" fmla="*/ 237 h 567"/>
                <a:gd name="T68" fmla="*/ 3734 w 5043"/>
                <a:gd name="T69" fmla="*/ 373 h 567"/>
                <a:gd name="T70" fmla="*/ 3387 w 5043"/>
                <a:gd name="T71" fmla="*/ 367 h 567"/>
                <a:gd name="T72" fmla="*/ 3730 w 5043"/>
                <a:gd name="T73" fmla="*/ 432 h 567"/>
                <a:gd name="T74" fmla="*/ 3458 w 5043"/>
                <a:gd name="T75" fmla="*/ 373 h 567"/>
                <a:gd name="T76" fmla="*/ 3565 w 5043"/>
                <a:gd name="T77" fmla="*/ 210 h 567"/>
                <a:gd name="T78" fmla="*/ 4138 w 5043"/>
                <a:gd name="T79" fmla="*/ 552 h 567"/>
                <a:gd name="T80" fmla="*/ 4122 w 5043"/>
                <a:gd name="T81" fmla="*/ 213 h 567"/>
                <a:gd name="T82" fmla="*/ 3835 w 5043"/>
                <a:gd name="T83" fmla="*/ 271 h 567"/>
                <a:gd name="T84" fmla="*/ 4051 w 5043"/>
                <a:gd name="T85" fmla="*/ 231 h 567"/>
                <a:gd name="T86" fmla="*/ 3880 w 5043"/>
                <a:gd name="T87" fmla="*/ 339 h 567"/>
                <a:gd name="T88" fmla="*/ 4066 w 5043"/>
                <a:gd name="T89" fmla="*/ 495 h 567"/>
                <a:gd name="T90" fmla="*/ 4064 w 5043"/>
                <a:gd name="T91" fmla="*/ 365 h 567"/>
                <a:gd name="T92" fmla="*/ 3885 w 5043"/>
                <a:gd name="T93" fmla="*/ 441 h 567"/>
                <a:gd name="T94" fmla="*/ 4256 w 5043"/>
                <a:gd name="T95" fmla="*/ 552 h 567"/>
                <a:gd name="T96" fmla="*/ 4256 w 5043"/>
                <a:gd name="T97" fmla="*/ 1 h 567"/>
                <a:gd name="T98" fmla="*/ 4467 w 5043"/>
                <a:gd name="T99" fmla="*/ 219 h 567"/>
                <a:gd name="T100" fmla="*/ 4624 w 5043"/>
                <a:gd name="T101" fmla="*/ 553 h 567"/>
                <a:gd name="T102" fmla="*/ 4538 w 5043"/>
                <a:gd name="T103" fmla="*/ 449 h 567"/>
                <a:gd name="T104" fmla="*/ 4624 w 5043"/>
                <a:gd name="T105" fmla="*/ 167 h 567"/>
                <a:gd name="T106" fmla="*/ 4467 w 5043"/>
                <a:gd name="T107" fmla="*/ 87 h 567"/>
                <a:gd name="T108" fmla="*/ 4399 w 5043"/>
                <a:gd name="T109" fmla="*/ 219 h 567"/>
                <a:gd name="T110" fmla="*/ 4785 w 5043"/>
                <a:gd name="T111" fmla="*/ 349 h 567"/>
                <a:gd name="T112" fmla="*/ 4970 w 5043"/>
                <a:gd name="T113" fmla="*/ 325 h 567"/>
                <a:gd name="T114" fmla="*/ 5043 w 5043"/>
                <a:gd name="T115" fmla="*/ 312 h 567"/>
                <a:gd name="T116" fmla="*/ 4785 w 5043"/>
                <a:gd name="T117" fmla="*/ 225 h 567"/>
                <a:gd name="T118" fmla="*/ 4713 w 5043"/>
                <a:gd name="T119" fmla="*/ 55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3" h="567">
                  <a:moveTo>
                    <a:pt x="0" y="552"/>
                  </a:moveTo>
                  <a:cubicBezTo>
                    <a:pt x="78" y="552"/>
                    <a:pt x="78" y="552"/>
                    <a:pt x="78" y="552"/>
                  </a:cubicBezTo>
                  <a:cubicBezTo>
                    <a:pt x="138" y="408"/>
                    <a:pt x="138" y="408"/>
                    <a:pt x="138" y="408"/>
                  </a:cubicBezTo>
                  <a:cubicBezTo>
                    <a:pt x="394" y="408"/>
                    <a:pt x="394" y="408"/>
                    <a:pt x="394" y="408"/>
                  </a:cubicBezTo>
                  <a:cubicBezTo>
                    <a:pt x="454" y="552"/>
                    <a:pt x="454" y="552"/>
                    <a:pt x="454" y="552"/>
                  </a:cubicBezTo>
                  <a:cubicBezTo>
                    <a:pt x="537" y="552"/>
                    <a:pt x="537" y="552"/>
                    <a:pt x="537" y="552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552"/>
                  </a:lnTo>
                  <a:close/>
                  <a:moveTo>
                    <a:pt x="269" y="76"/>
                  </a:moveTo>
                  <a:cubicBezTo>
                    <a:pt x="371" y="346"/>
                    <a:pt x="371" y="346"/>
                    <a:pt x="371" y="346"/>
                  </a:cubicBezTo>
                  <a:cubicBezTo>
                    <a:pt x="162" y="346"/>
                    <a:pt x="162" y="346"/>
                    <a:pt x="162" y="346"/>
                  </a:cubicBezTo>
                  <a:lnTo>
                    <a:pt x="269" y="76"/>
                  </a:lnTo>
                  <a:close/>
                  <a:moveTo>
                    <a:pt x="614" y="552"/>
                  </a:moveTo>
                  <a:cubicBezTo>
                    <a:pt x="686" y="552"/>
                    <a:pt x="686" y="552"/>
                    <a:pt x="686" y="552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254"/>
                    <a:pt x="734" y="216"/>
                    <a:pt x="786" y="216"/>
                  </a:cubicBezTo>
                  <a:cubicBezTo>
                    <a:pt x="811" y="216"/>
                    <a:pt x="836" y="225"/>
                    <a:pt x="854" y="242"/>
                  </a:cubicBezTo>
                  <a:cubicBezTo>
                    <a:pt x="872" y="260"/>
                    <a:pt x="875" y="283"/>
                    <a:pt x="875" y="308"/>
                  </a:cubicBezTo>
                  <a:cubicBezTo>
                    <a:pt x="875" y="552"/>
                    <a:pt x="875" y="552"/>
                    <a:pt x="875" y="552"/>
                  </a:cubicBezTo>
                  <a:cubicBezTo>
                    <a:pt x="948" y="552"/>
                    <a:pt x="948" y="552"/>
                    <a:pt x="948" y="552"/>
                  </a:cubicBezTo>
                  <a:cubicBezTo>
                    <a:pt x="948" y="291"/>
                    <a:pt x="948" y="291"/>
                    <a:pt x="948" y="291"/>
                  </a:cubicBezTo>
                  <a:cubicBezTo>
                    <a:pt x="948" y="174"/>
                    <a:pt x="843" y="161"/>
                    <a:pt x="809" y="161"/>
                  </a:cubicBezTo>
                  <a:cubicBezTo>
                    <a:pt x="722" y="161"/>
                    <a:pt x="694" y="214"/>
                    <a:pt x="686" y="230"/>
                  </a:cubicBezTo>
                  <a:cubicBezTo>
                    <a:pt x="685" y="168"/>
                    <a:pt x="685" y="168"/>
                    <a:pt x="685" y="168"/>
                  </a:cubicBezTo>
                  <a:cubicBezTo>
                    <a:pt x="613" y="168"/>
                    <a:pt x="613" y="168"/>
                    <a:pt x="613" y="168"/>
                  </a:cubicBezTo>
                  <a:cubicBezTo>
                    <a:pt x="614" y="213"/>
                    <a:pt x="614" y="213"/>
                    <a:pt x="614" y="213"/>
                  </a:cubicBezTo>
                  <a:lnTo>
                    <a:pt x="614" y="552"/>
                  </a:lnTo>
                  <a:close/>
                  <a:moveTo>
                    <a:pt x="1072" y="80"/>
                  </a:moveTo>
                  <a:cubicBezTo>
                    <a:pt x="1158" y="80"/>
                    <a:pt x="1158" y="80"/>
                    <a:pt x="1158" y="80"/>
                  </a:cubicBezTo>
                  <a:cubicBezTo>
                    <a:pt x="1158" y="2"/>
                    <a:pt x="1158" y="2"/>
                    <a:pt x="1158" y="2"/>
                  </a:cubicBezTo>
                  <a:cubicBezTo>
                    <a:pt x="1072" y="2"/>
                    <a:pt x="1072" y="2"/>
                    <a:pt x="1072" y="2"/>
                  </a:cubicBezTo>
                  <a:lnTo>
                    <a:pt x="1072" y="80"/>
                  </a:lnTo>
                  <a:close/>
                  <a:moveTo>
                    <a:pt x="1079" y="552"/>
                  </a:moveTo>
                  <a:cubicBezTo>
                    <a:pt x="1151" y="552"/>
                    <a:pt x="1151" y="552"/>
                    <a:pt x="1151" y="552"/>
                  </a:cubicBezTo>
                  <a:cubicBezTo>
                    <a:pt x="1151" y="168"/>
                    <a:pt x="1151" y="168"/>
                    <a:pt x="1151" y="168"/>
                  </a:cubicBezTo>
                  <a:cubicBezTo>
                    <a:pt x="1079" y="168"/>
                    <a:pt x="1079" y="168"/>
                    <a:pt x="1079" y="168"/>
                  </a:cubicBezTo>
                  <a:lnTo>
                    <a:pt x="1079" y="552"/>
                  </a:lnTo>
                  <a:close/>
                  <a:moveTo>
                    <a:pt x="1290" y="552"/>
                  </a:moveTo>
                  <a:cubicBezTo>
                    <a:pt x="1363" y="552"/>
                    <a:pt x="1363" y="552"/>
                    <a:pt x="1363" y="552"/>
                  </a:cubicBezTo>
                  <a:cubicBezTo>
                    <a:pt x="1363" y="334"/>
                    <a:pt x="1363" y="334"/>
                    <a:pt x="1363" y="334"/>
                  </a:cubicBezTo>
                  <a:cubicBezTo>
                    <a:pt x="1363" y="310"/>
                    <a:pt x="1364" y="278"/>
                    <a:pt x="1380" y="256"/>
                  </a:cubicBezTo>
                  <a:cubicBezTo>
                    <a:pt x="1399" y="229"/>
                    <a:pt x="1431" y="214"/>
                    <a:pt x="1464" y="214"/>
                  </a:cubicBezTo>
                  <a:cubicBezTo>
                    <a:pt x="1520" y="214"/>
                    <a:pt x="1548" y="251"/>
                    <a:pt x="1548" y="298"/>
                  </a:cubicBezTo>
                  <a:cubicBezTo>
                    <a:pt x="1548" y="552"/>
                    <a:pt x="1548" y="552"/>
                    <a:pt x="1548" y="552"/>
                  </a:cubicBezTo>
                  <a:cubicBezTo>
                    <a:pt x="1621" y="552"/>
                    <a:pt x="1621" y="552"/>
                    <a:pt x="1621" y="552"/>
                  </a:cubicBezTo>
                  <a:cubicBezTo>
                    <a:pt x="1621" y="337"/>
                    <a:pt x="1621" y="337"/>
                    <a:pt x="1621" y="337"/>
                  </a:cubicBezTo>
                  <a:cubicBezTo>
                    <a:pt x="1621" y="320"/>
                    <a:pt x="1621" y="278"/>
                    <a:pt x="1637" y="255"/>
                  </a:cubicBezTo>
                  <a:cubicBezTo>
                    <a:pt x="1656" y="228"/>
                    <a:pt x="1687" y="213"/>
                    <a:pt x="1719" y="214"/>
                  </a:cubicBezTo>
                  <a:cubicBezTo>
                    <a:pt x="1748" y="213"/>
                    <a:pt x="1775" y="225"/>
                    <a:pt x="1792" y="248"/>
                  </a:cubicBezTo>
                  <a:cubicBezTo>
                    <a:pt x="1799" y="258"/>
                    <a:pt x="1805" y="272"/>
                    <a:pt x="1805" y="306"/>
                  </a:cubicBezTo>
                  <a:cubicBezTo>
                    <a:pt x="1805" y="552"/>
                    <a:pt x="1805" y="552"/>
                    <a:pt x="1805" y="552"/>
                  </a:cubicBezTo>
                  <a:cubicBezTo>
                    <a:pt x="1878" y="552"/>
                    <a:pt x="1878" y="552"/>
                    <a:pt x="1878" y="552"/>
                  </a:cubicBezTo>
                  <a:cubicBezTo>
                    <a:pt x="1878" y="294"/>
                    <a:pt x="1878" y="294"/>
                    <a:pt x="1878" y="294"/>
                  </a:cubicBezTo>
                  <a:cubicBezTo>
                    <a:pt x="1878" y="181"/>
                    <a:pt x="1792" y="158"/>
                    <a:pt x="1737" y="158"/>
                  </a:cubicBezTo>
                  <a:cubicBezTo>
                    <a:pt x="1653" y="158"/>
                    <a:pt x="1621" y="209"/>
                    <a:pt x="1608" y="230"/>
                  </a:cubicBezTo>
                  <a:cubicBezTo>
                    <a:pt x="1595" y="202"/>
                    <a:pt x="1568" y="158"/>
                    <a:pt x="1483" y="158"/>
                  </a:cubicBezTo>
                  <a:cubicBezTo>
                    <a:pt x="1433" y="155"/>
                    <a:pt x="1386" y="181"/>
                    <a:pt x="1361" y="224"/>
                  </a:cubicBezTo>
                  <a:cubicBezTo>
                    <a:pt x="1361" y="168"/>
                    <a:pt x="1361" y="168"/>
                    <a:pt x="1361" y="168"/>
                  </a:cubicBezTo>
                  <a:cubicBezTo>
                    <a:pt x="1289" y="168"/>
                    <a:pt x="1289" y="168"/>
                    <a:pt x="1289" y="168"/>
                  </a:cubicBezTo>
                  <a:cubicBezTo>
                    <a:pt x="1290" y="219"/>
                    <a:pt x="1290" y="219"/>
                    <a:pt x="1290" y="219"/>
                  </a:cubicBezTo>
                  <a:lnTo>
                    <a:pt x="1290" y="552"/>
                  </a:lnTo>
                  <a:close/>
                  <a:moveTo>
                    <a:pt x="2311" y="552"/>
                  </a:moveTo>
                  <a:cubicBezTo>
                    <a:pt x="2308" y="520"/>
                    <a:pt x="2305" y="488"/>
                    <a:pt x="2305" y="456"/>
                  </a:cubicBezTo>
                  <a:cubicBezTo>
                    <a:pt x="2308" y="272"/>
                    <a:pt x="2308" y="272"/>
                    <a:pt x="2308" y="272"/>
                  </a:cubicBezTo>
                  <a:cubicBezTo>
                    <a:pt x="2309" y="252"/>
                    <a:pt x="2305" y="231"/>
                    <a:pt x="2295" y="213"/>
                  </a:cubicBezTo>
                  <a:cubicBezTo>
                    <a:pt x="2275" y="174"/>
                    <a:pt x="2215" y="157"/>
                    <a:pt x="2159" y="157"/>
                  </a:cubicBezTo>
                  <a:cubicBezTo>
                    <a:pt x="2119" y="157"/>
                    <a:pt x="2065" y="166"/>
                    <a:pt x="2035" y="198"/>
                  </a:cubicBezTo>
                  <a:cubicBezTo>
                    <a:pt x="2019" y="219"/>
                    <a:pt x="2010" y="244"/>
                    <a:pt x="2009" y="271"/>
                  </a:cubicBezTo>
                  <a:cubicBezTo>
                    <a:pt x="2081" y="271"/>
                    <a:pt x="2081" y="271"/>
                    <a:pt x="2081" y="271"/>
                  </a:cubicBezTo>
                  <a:cubicBezTo>
                    <a:pt x="2081" y="255"/>
                    <a:pt x="2085" y="206"/>
                    <a:pt x="2158" y="206"/>
                  </a:cubicBezTo>
                  <a:cubicBezTo>
                    <a:pt x="2178" y="206"/>
                    <a:pt x="2210" y="212"/>
                    <a:pt x="2224" y="231"/>
                  </a:cubicBezTo>
                  <a:cubicBezTo>
                    <a:pt x="2238" y="248"/>
                    <a:pt x="2238" y="268"/>
                    <a:pt x="2238" y="316"/>
                  </a:cubicBezTo>
                  <a:cubicBezTo>
                    <a:pt x="2216" y="314"/>
                    <a:pt x="2204" y="313"/>
                    <a:pt x="2186" y="313"/>
                  </a:cubicBezTo>
                  <a:cubicBezTo>
                    <a:pt x="2155" y="313"/>
                    <a:pt x="2094" y="316"/>
                    <a:pt x="2053" y="339"/>
                  </a:cubicBezTo>
                  <a:cubicBezTo>
                    <a:pt x="2011" y="361"/>
                    <a:pt x="1986" y="404"/>
                    <a:pt x="1986" y="451"/>
                  </a:cubicBezTo>
                  <a:cubicBezTo>
                    <a:pt x="1986" y="514"/>
                    <a:pt x="2033" y="564"/>
                    <a:pt x="2121" y="564"/>
                  </a:cubicBezTo>
                  <a:cubicBezTo>
                    <a:pt x="2171" y="567"/>
                    <a:pt x="2218" y="539"/>
                    <a:pt x="2239" y="495"/>
                  </a:cubicBezTo>
                  <a:cubicBezTo>
                    <a:pt x="2239" y="514"/>
                    <a:pt x="2241" y="533"/>
                    <a:pt x="2246" y="552"/>
                  </a:cubicBezTo>
                  <a:lnTo>
                    <a:pt x="2311" y="552"/>
                  </a:lnTo>
                  <a:close/>
                  <a:moveTo>
                    <a:pt x="2238" y="365"/>
                  </a:moveTo>
                  <a:cubicBezTo>
                    <a:pt x="2236" y="419"/>
                    <a:pt x="2236" y="440"/>
                    <a:pt x="2220" y="466"/>
                  </a:cubicBezTo>
                  <a:cubicBezTo>
                    <a:pt x="2202" y="494"/>
                    <a:pt x="2170" y="509"/>
                    <a:pt x="2138" y="508"/>
                  </a:cubicBezTo>
                  <a:cubicBezTo>
                    <a:pt x="2074" y="508"/>
                    <a:pt x="2058" y="465"/>
                    <a:pt x="2058" y="441"/>
                  </a:cubicBezTo>
                  <a:cubicBezTo>
                    <a:pt x="2058" y="363"/>
                    <a:pt x="2168" y="363"/>
                    <a:pt x="2197" y="363"/>
                  </a:cubicBezTo>
                  <a:cubicBezTo>
                    <a:pt x="2210" y="363"/>
                    <a:pt x="2224" y="364"/>
                    <a:pt x="2238" y="365"/>
                  </a:cubicBezTo>
                  <a:close/>
                  <a:moveTo>
                    <a:pt x="2439" y="552"/>
                  </a:moveTo>
                  <a:cubicBezTo>
                    <a:pt x="2511" y="552"/>
                    <a:pt x="2511" y="552"/>
                    <a:pt x="2511" y="552"/>
                  </a:cubicBezTo>
                  <a:cubicBezTo>
                    <a:pt x="2511" y="1"/>
                    <a:pt x="2511" y="1"/>
                    <a:pt x="2511" y="1"/>
                  </a:cubicBezTo>
                  <a:cubicBezTo>
                    <a:pt x="2439" y="1"/>
                    <a:pt x="2439" y="1"/>
                    <a:pt x="2439" y="1"/>
                  </a:cubicBezTo>
                  <a:lnTo>
                    <a:pt x="2439" y="552"/>
                  </a:lnTo>
                  <a:close/>
                  <a:moveTo>
                    <a:pt x="2862" y="0"/>
                  </a:moveTo>
                  <a:cubicBezTo>
                    <a:pt x="2862" y="552"/>
                    <a:pt x="2862" y="552"/>
                    <a:pt x="2862" y="552"/>
                  </a:cubicBezTo>
                  <a:cubicBezTo>
                    <a:pt x="2939" y="552"/>
                    <a:pt x="2939" y="552"/>
                    <a:pt x="2939" y="552"/>
                  </a:cubicBezTo>
                  <a:cubicBezTo>
                    <a:pt x="2939" y="303"/>
                    <a:pt x="2939" y="303"/>
                    <a:pt x="2939" y="303"/>
                  </a:cubicBezTo>
                  <a:cubicBezTo>
                    <a:pt x="3201" y="303"/>
                    <a:pt x="3201" y="303"/>
                    <a:pt x="3201" y="303"/>
                  </a:cubicBezTo>
                  <a:cubicBezTo>
                    <a:pt x="3201" y="552"/>
                    <a:pt x="3201" y="552"/>
                    <a:pt x="3201" y="552"/>
                  </a:cubicBezTo>
                  <a:cubicBezTo>
                    <a:pt x="3277" y="552"/>
                    <a:pt x="3277" y="552"/>
                    <a:pt x="3277" y="552"/>
                  </a:cubicBezTo>
                  <a:cubicBezTo>
                    <a:pt x="3277" y="0"/>
                    <a:pt x="3277" y="0"/>
                    <a:pt x="3277" y="0"/>
                  </a:cubicBezTo>
                  <a:cubicBezTo>
                    <a:pt x="3201" y="0"/>
                    <a:pt x="3201" y="0"/>
                    <a:pt x="3201" y="0"/>
                  </a:cubicBezTo>
                  <a:cubicBezTo>
                    <a:pt x="3201" y="237"/>
                    <a:pt x="3201" y="237"/>
                    <a:pt x="3201" y="237"/>
                  </a:cubicBezTo>
                  <a:cubicBezTo>
                    <a:pt x="2939" y="237"/>
                    <a:pt x="2939" y="237"/>
                    <a:pt x="2939" y="237"/>
                  </a:cubicBezTo>
                  <a:cubicBezTo>
                    <a:pt x="2939" y="0"/>
                    <a:pt x="2939" y="0"/>
                    <a:pt x="2939" y="0"/>
                  </a:cubicBezTo>
                  <a:lnTo>
                    <a:pt x="2862" y="0"/>
                  </a:lnTo>
                  <a:close/>
                  <a:moveTo>
                    <a:pt x="3734" y="373"/>
                  </a:moveTo>
                  <a:cubicBezTo>
                    <a:pt x="3735" y="310"/>
                    <a:pt x="3739" y="158"/>
                    <a:pt x="3567" y="158"/>
                  </a:cubicBezTo>
                  <a:cubicBezTo>
                    <a:pt x="3530" y="157"/>
                    <a:pt x="3494" y="167"/>
                    <a:pt x="3462" y="187"/>
                  </a:cubicBezTo>
                  <a:cubicBezTo>
                    <a:pt x="3402" y="229"/>
                    <a:pt x="3387" y="291"/>
                    <a:pt x="3387" y="367"/>
                  </a:cubicBezTo>
                  <a:cubicBezTo>
                    <a:pt x="3387" y="488"/>
                    <a:pt x="3444" y="563"/>
                    <a:pt x="3565" y="563"/>
                  </a:cubicBezTo>
                  <a:cubicBezTo>
                    <a:pt x="3642" y="563"/>
                    <a:pt x="3680" y="531"/>
                    <a:pt x="3697" y="512"/>
                  </a:cubicBezTo>
                  <a:cubicBezTo>
                    <a:pt x="3717" y="490"/>
                    <a:pt x="3728" y="462"/>
                    <a:pt x="3730" y="432"/>
                  </a:cubicBezTo>
                  <a:cubicBezTo>
                    <a:pt x="3658" y="432"/>
                    <a:pt x="3658" y="432"/>
                    <a:pt x="3658" y="432"/>
                  </a:cubicBezTo>
                  <a:cubicBezTo>
                    <a:pt x="3652" y="487"/>
                    <a:pt x="3614" y="511"/>
                    <a:pt x="3568" y="511"/>
                  </a:cubicBezTo>
                  <a:cubicBezTo>
                    <a:pt x="3489" y="511"/>
                    <a:pt x="3456" y="452"/>
                    <a:pt x="3458" y="373"/>
                  </a:cubicBezTo>
                  <a:lnTo>
                    <a:pt x="3734" y="373"/>
                  </a:lnTo>
                  <a:close/>
                  <a:moveTo>
                    <a:pt x="3461" y="323"/>
                  </a:moveTo>
                  <a:cubicBezTo>
                    <a:pt x="3462" y="238"/>
                    <a:pt x="3519" y="210"/>
                    <a:pt x="3565" y="210"/>
                  </a:cubicBezTo>
                  <a:cubicBezTo>
                    <a:pt x="3654" y="210"/>
                    <a:pt x="3661" y="286"/>
                    <a:pt x="3660" y="323"/>
                  </a:cubicBezTo>
                  <a:lnTo>
                    <a:pt x="3461" y="323"/>
                  </a:lnTo>
                  <a:close/>
                  <a:moveTo>
                    <a:pt x="4138" y="552"/>
                  </a:moveTo>
                  <a:cubicBezTo>
                    <a:pt x="4134" y="520"/>
                    <a:pt x="4132" y="488"/>
                    <a:pt x="4132" y="456"/>
                  </a:cubicBezTo>
                  <a:cubicBezTo>
                    <a:pt x="4135" y="272"/>
                    <a:pt x="4135" y="272"/>
                    <a:pt x="4135" y="272"/>
                  </a:cubicBezTo>
                  <a:cubicBezTo>
                    <a:pt x="4136" y="252"/>
                    <a:pt x="4131" y="231"/>
                    <a:pt x="4122" y="213"/>
                  </a:cubicBezTo>
                  <a:cubicBezTo>
                    <a:pt x="4101" y="174"/>
                    <a:pt x="4042" y="157"/>
                    <a:pt x="3986" y="157"/>
                  </a:cubicBezTo>
                  <a:cubicBezTo>
                    <a:pt x="3945" y="157"/>
                    <a:pt x="3891" y="166"/>
                    <a:pt x="3862" y="198"/>
                  </a:cubicBezTo>
                  <a:cubicBezTo>
                    <a:pt x="3845" y="219"/>
                    <a:pt x="3836" y="244"/>
                    <a:pt x="3835" y="271"/>
                  </a:cubicBezTo>
                  <a:cubicBezTo>
                    <a:pt x="3907" y="271"/>
                    <a:pt x="3907" y="271"/>
                    <a:pt x="3907" y="271"/>
                  </a:cubicBezTo>
                  <a:cubicBezTo>
                    <a:pt x="3908" y="255"/>
                    <a:pt x="3912" y="206"/>
                    <a:pt x="3984" y="206"/>
                  </a:cubicBezTo>
                  <a:cubicBezTo>
                    <a:pt x="4005" y="206"/>
                    <a:pt x="4036" y="212"/>
                    <a:pt x="4051" y="231"/>
                  </a:cubicBezTo>
                  <a:cubicBezTo>
                    <a:pt x="4064" y="248"/>
                    <a:pt x="4064" y="268"/>
                    <a:pt x="4064" y="316"/>
                  </a:cubicBezTo>
                  <a:cubicBezTo>
                    <a:pt x="4042" y="314"/>
                    <a:pt x="4031" y="313"/>
                    <a:pt x="4012" y="313"/>
                  </a:cubicBezTo>
                  <a:cubicBezTo>
                    <a:pt x="3982" y="313"/>
                    <a:pt x="3921" y="316"/>
                    <a:pt x="3880" y="339"/>
                  </a:cubicBezTo>
                  <a:cubicBezTo>
                    <a:pt x="3838" y="361"/>
                    <a:pt x="3812" y="404"/>
                    <a:pt x="3812" y="451"/>
                  </a:cubicBezTo>
                  <a:cubicBezTo>
                    <a:pt x="3812" y="514"/>
                    <a:pt x="3860" y="564"/>
                    <a:pt x="3948" y="564"/>
                  </a:cubicBezTo>
                  <a:cubicBezTo>
                    <a:pt x="3997" y="567"/>
                    <a:pt x="4044" y="539"/>
                    <a:pt x="4066" y="495"/>
                  </a:cubicBezTo>
                  <a:cubicBezTo>
                    <a:pt x="4066" y="514"/>
                    <a:pt x="4068" y="533"/>
                    <a:pt x="4073" y="552"/>
                  </a:cubicBezTo>
                  <a:lnTo>
                    <a:pt x="4138" y="552"/>
                  </a:lnTo>
                  <a:close/>
                  <a:moveTo>
                    <a:pt x="4064" y="365"/>
                  </a:moveTo>
                  <a:cubicBezTo>
                    <a:pt x="4063" y="419"/>
                    <a:pt x="4062" y="440"/>
                    <a:pt x="4046" y="466"/>
                  </a:cubicBezTo>
                  <a:cubicBezTo>
                    <a:pt x="4028" y="494"/>
                    <a:pt x="3997" y="509"/>
                    <a:pt x="3964" y="508"/>
                  </a:cubicBezTo>
                  <a:cubicBezTo>
                    <a:pt x="3900" y="508"/>
                    <a:pt x="3885" y="465"/>
                    <a:pt x="3885" y="441"/>
                  </a:cubicBezTo>
                  <a:cubicBezTo>
                    <a:pt x="3885" y="363"/>
                    <a:pt x="3994" y="363"/>
                    <a:pt x="4023" y="363"/>
                  </a:cubicBezTo>
                  <a:cubicBezTo>
                    <a:pt x="4037" y="363"/>
                    <a:pt x="4051" y="364"/>
                    <a:pt x="4064" y="365"/>
                  </a:cubicBezTo>
                  <a:close/>
                  <a:moveTo>
                    <a:pt x="4256" y="552"/>
                  </a:moveTo>
                  <a:cubicBezTo>
                    <a:pt x="4328" y="552"/>
                    <a:pt x="4328" y="552"/>
                    <a:pt x="4328" y="552"/>
                  </a:cubicBezTo>
                  <a:cubicBezTo>
                    <a:pt x="4328" y="1"/>
                    <a:pt x="4328" y="1"/>
                    <a:pt x="4328" y="1"/>
                  </a:cubicBezTo>
                  <a:cubicBezTo>
                    <a:pt x="4256" y="1"/>
                    <a:pt x="4256" y="1"/>
                    <a:pt x="4256" y="1"/>
                  </a:cubicBezTo>
                  <a:lnTo>
                    <a:pt x="4256" y="552"/>
                  </a:lnTo>
                  <a:close/>
                  <a:moveTo>
                    <a:pt x="4399" y="219"/>
                  </a:moveTo>
                  <a:cubicBezTo>
                    <a:pt x="4467" y="219"/>
                    <a:pt x="4467" y="219"/>
                    <a:pt x="4467" y="219"/>
                  </a:cubicBezTo>
                  <a:cubicBezTo>
                    <a:pt x="4467" y="475"/>
                    <a:pt x="4467" y="475"/>
                    <a:pt x="4467" y="475"/>
                  </a:cubicBezTo>
                  <a:cubicBezTo>
                    <a:pt x="4467" y="538"/>
                    <a:pt x="4499" y="557"/>
                    <a:pt x="4564" y="557"/>
                  </a:cubicBezTo>
                  <a:cubicBezTo>
                    <a:pt x="4584" y="557"/>
                    <a:pt x="4604" y="556"/>
                    <a:pt x="4624" y="553"/>
                  </a:cubicBezTo>
                  <a:cubicBezTo>
                    <a:pt x="4624" y="497"/>
                    <a:pt x="4624" y="497"/>
                    <a:pt x="4624" y="497"/>
                  </a:cubicBezTo>
                  <a:cubicBezTo>
                    <a:pt x="4613" y="499"/>
                    <a:pt x="4601" y="501"/>
                    <a:pt x="4589" y="501"/>
                  </a:cubicBezTo>
                  <a:cubicBezTo>
                    <a:pt x="4538" y="501"/>
                    <a:pt x="4538" y="469"/>
                    <a:pt x="4538" y="449"/>
                  </a:cubicBezTo>
                  <a:cubicBezTo>
                    <a:pt x="4538" y="219"/>
                    <a:pt x="4538" y="219"/>
                    <a:pt x="4538" y="219"/>
                  </a:cubicBezTo>
                  <a:cubicBezTo>
                    <a:pt x="4624" y="219"/>
                    <a:pt x="4624" y="219"/>
                    <a:pt x="4624" y="219"/>
                  </a:cubicBezTo>
                  <a:cubicBezTo>
                    <a:pt x="4624" y="167"/>
                    <a:pt x="4624" y="167"/>
                    <a:pt x="4624" y="167"/>
                  </a:cubicBezTo>
                  <a:cubicBezTo>
                    <a:pt x="4538" y="167"/>
                    <a:pt x="4538" y="167"/>
                    <a:pt x="4538" y="167"/>
                  </a:cubicBezTo>
                  <a:cubicBezTo>
                    <a:pt x="4538" y="64"/>
                    <a:pt x="4538" y="64"/>
                    <a:pt x="4538" y="64"/>
                  </a:cubicBezTo>
                  <a:cubicBezTo>
                    <a:pt x="4467" y="87"/>
                    <a:pt x="4467" y="87"/>
                    <a:pt x="4467" y="87"/>
                  </a:cubicBezTo>
                  <a:cubicBezTo>
                    <a:pt x="4467" y="167"/>
                    <a:pt x="4467" y="167"/>
                    <a:pt x="4467" y="167"/>
                  </a:cubicBezTo>
                  <a:cubicBezTo>
                    <a:pt x="4399" y="167"/>
                    <a:pt x="4399" y="167"/>
                    <a:pt x="4399" y="167"/>
                  </a:cubicBezTo>
                  <a:lnTo>
                    <a:pt x="4399" y="219"/>
                  </a:lnTo>
                  <a:close/>
                  <a:moveTo>
                    <a:pt x="4713" y="552"/>
                  </a:moveTo>
                  <a:cubicBezTo>
                    <a:pt x="4785" y="552"/>
                    <a:pt x="4785" y="552"/>
                    <a:pt x="4785" y="552"/>
                  </a:cubicBezTo>
                  <a:cubicBezTo>
                    <a:pt x="4785" y="349"/>
                    <a:pt x="4785" y="349"/>
                    <a:pt x="4785" y="349"/>
                  </a:cubicBezTo>
                  <a:cubicBezTo>
                    <a:pt x="4785" y="325"/>
                    <a:pt x="4785" y="289"/>
                    <a:pt x="4797" y="268"/>
                  </a:cubicBezTo>
                  <a:cubicBezTo>
                    <a:pt x="4815" y="235"/>
                    <a:pt x="4850" y="215"/>
                    <a:pt x="4888" y="216"/>
                  </a:cubicBezTo>
                  <a:cubicBezTo>
                    <a:pt x="4970" y="216"/>
                    <a:pt x="4970" y="291"/>
                    <a:pt x="4970" y="325"/>
                  </a:cubicBezTo>
                  <a:cubicBezTo>
                    <a:pt x="4970" y="552"/>
                    <a:pt x="4970" y="552"/>
                    <a:pt x="4970" y="552"/>
                  </a:cubicBezTo>
                  <a:cubicBezTo>
                    <a:pt x="5043" y="552"/>
                    <a:pt x="5043" y="552"/>
                    <a:pt x="5043" y="552"/>
                  </a:cubicBezTo>
                  <a:cubicBezTo>
                    <a:pt x="5043" y="312"/>
                    <a:pt x="5043" y="312"/>
                    <a:pt x="5043" y="312"/>
                  </a:cubicBezTo>
                  <a:cubicBezTo>
                    <a:pt x="5043" y="256"/>
                    <a:pt x="5038" y="238"/>
                    <a:pt x="5030" y="222"/>
                  </a:cubicBezTo>
                  <a:cubicBezTo>
                    <a:pt x="5008" y="176"/>
                    <a:pt x="4950" y="161"/>
                    <a:pt x="4910" y="161"/>
                  </a:cubicBezTo>
                  <a:cubicBezTo>
                    <a:pt x="4856" y="161"/>
                    <a:pt x="4809" y="184"/>
                    <a:pt x="4785" y="225"/>
                  </a:cubicBezTo>
                  <a:cubicBezTo>
                    <a:pt x="4785" y="1"/>
                    <a:pt x="4785" y="1"/>
                    <a:pt x="4785" y="1"/>
                  </a:cubicBezTo>
                  <a:cubicBezTo>
                    <a:pt x="4713" y="1"/>
                    <a:pt x="4713" y="1"/>
                    <a:pt x="4713" y="1"/>
                  </a:cubicBezTo>
                  <a:lnTo>
                    <a:pt x="4713" y="552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9ACBB0D0-992F-4837-8212-D866D42C1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419"/>
              <a:ext cx="639" cy="617"/>
            </a:xfrm>
            <a:custGeom>
              <a:avLst/>
              <a:gdLst>
                <a:gd name="T0" fmla="*/ 319 w 639"/>
                <a:gd name="T1" fmla="*/ 313 h 617"/>
                <a:gd name="T2" fmla="*/ 195 w 639"/>
                <a:gd name="T3" fmla="*/ 0 h 617"/>
                <a:gd name="T4" fmla="*/ 0 w 639"/>
                <a:gd name="T5" fmla="*/ 0 h 617"/>
                <a:gd name="T6" fmla="*/ 0 w 639"/>
                <a:gd name="T7" fmla="*/ 610 h 617"/>
                <a:gd name="T8" fmla="*/ 131 w 639"/>
                <a:gd name="T9" fmla="*/ 610 h 617"/>
                <a:gd name="T10" fmla="*/ 131 w 639"/>
                <a:gd name="T11" fmla="*/ 177 h 617"/>
                <a:gd name="T12" fmla="*/ 319 w 639"/>
                <a:gd name="T13" fmla="*/ 617 h 617"/>
                <a:gd name="T14" fmla="*/ 319 w 639"/>
                <a:gd name="T15" fmla="*/ 617 h 617"/>
                <a:gd name="T16" fmla="*/ 508 w 639"/>
                <a:gd name="T17" fmla="*/ 177 h 617"/>
                <a:gd name="T18" fmla="*/ 508 w 639"/>
                <a:gd name="T19" fmla="*/ 610 h 617"/>
                <a:gd name="T20" fmla="*/ 639 w 639"/>
                <a:gd name="T21" fmla="*/ 610 h 617"/>
                <a:gd name="T22" fmla="*/ 639 w 639"/>
                <a:gd name="T23" fmla="*/ 0 h 617"/>
                <a:gd name="T24" fmla="*/ 445 w 639"/>
                <a:gd name="T25" fmla="*/ 0 h 617"/>
                <a:gd name="T26" fmla="*/ 319 w 639"/>
                <a:gd name="T27" fmla="*/ 313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9" h="617">
                  <a:moveTo>
                    <a:pt x="319" y="313"/>
                  </a:moveTo>
                  <a:lnTo>
                    <a:pt x="195" y="0"/>
                  </a:lnTo>
                  <a:lnTo>
                    <a:pt x="0" y="0"/>
                  </a:lnTo>
                  <a:lnTo>
                    <a:pt x="0" y="610"/>
                  </a:lnTo>
                  <a:lnTo>
                    <a:pt x="131" y="610"/>
                  </a:lnTo>
                  <a:lnTo>
                    <a:pt x="131" y="177"/>
                  </a:lnTo>
                  <a:lnTo>
                    <a:pt x="319" y="617"/>
                  </a:lnTo>
                  <a:lnTo>
                    <a:pt x="319" y="617"/>
                  </a:lnTo>
                  <a:lnTo>
                    <a:pt x="508" y="177"/>
                  </a:lnTo>
                  <a:lnTo>
                    <a:pt x="508" y="610"/>
                  </a:lnTo>
                  <a:lnTo>
                    <a:pt x="639" y="610"/>
                  </a:lnTo>
                  <a:lnTo>
                    <a:pt x="639" y="0"/>
                  </a:lnTo>
                  <a:lnTo>
                    <a:pt x="445" y="0"/>
                  </a:lnTo>
                  <a:lnTo>
                    <a:pt x="319" y="313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C7D8EAF-147E-4ECC-860F-89CCECD05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1409"/>
              <a:ext cx="470" cy="643"/>
            </a:xfrm>
            <a:custGeom>
              <a:avLst/>
              <a:gdLst>
                <a:gd name="T0" fmla="*/ 8 w 889"/>
                <a:gd name="T1" fmla="*/ 811 h 1217"/>
                <a:gd name="T2" fmla="*/ 423 w 889"/>
                <a:gd name="T3" fmla="*/ 1211 h 1217"/>
                <a:gd name="T4" fmla="*/ 889 w 889"/>
                <a:gd name="T5" fmla="*/ 850 h 1217"/>
                <a:gd name="T6" fmla="*/ 482 w 889"/>
                <a:gd name="T7" fmla="*/ 497 h 1217"/>
                <a:gd name="T8" fmla="*/ 284 w 889"/>
                <a:gd name="T9" fmla="*/ 336 h 1217"/>
                <a:gd name="T10" fmla="*/ 457 w 889"/>
                <a:gd name="T11" fmla="*/ 190 h 1217"/>
                <a:gd name="T12" fmla="*/ 635 w 889"/>
                <a:gd name="T13" fmla="*/ 361 h 1217"/>
                <a:gd name="T14" fmla="*/ 860 w 889"/>
                <a:gd name="T15" fmla="*/ 361 h 1217"/>
                <a:gd name="T16" fmla="*/ 475 w 889"/>
                <a:gd name="T17" fmla="*/ 0 h 1217"/>
                <a:gd name="T18" fmla="*/ 39 w 889"/>
                <a:gd name="T19" fmla="*/ 358 h 1217"/>
                <a:gd name="T20" fmla="*/ 395 w 889"/>
                <a:gd name="T21" fmla="*/ 702 h 1217"/>
                <a:gd name="T22" fmla="*/ 644 w 889"/>
                <a:gd name="T23" fmla="*/ 869 h 1217"/>
                <a:gd name="T24" fmla="*/ 426 w 889"/>
                <a:gd name="T25" fmla="*/ 1023 h 1217"/>
                <a:gd name="T26" fmla="*/ 245 w 889"/>
                <a:gd name="T27" fmla="*/ 811 h 1217"/>
                <a:gd name="T28" fmla="*/ 8 w 889"/>
                <a:gd name="T29" fmla="*/ 811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9" h="1217">
                  <a:moveTo>
                    <a:pt x="8" y="811"/>
                  </a:moveTo>
                  <a:cubicBezTo>
                    <a:pt x="0" y="1099"/>
                    <a:pt x="195" y="1206"/>
                    <a:pt x="423" y="1211"/>
                  </a:cubicBezTo>
                  <a:cubicBezTo>
                    <a:pt x="688" y="1217"/>
                    <a:pt x="889" y="1105"/>
                    <a:pt x="889" y="850"/>
                  </a:cubicBezTo>
                  <a:cubicBezTo>
                    <a:pt x="889" y="595"/>
                    <a:pt x="660" y="555"/>
                    <a:pt x="482" y="497"/>
                  </a:cubicBezTo>
                  <a:cubicBezTo>
                    <a:pt x="412" y="474"/>
                    <a:pt x="284" y="454"/>
                    <a:pt x="284" y="336"/>
                  </a:cubicBezTo>
                  <a:cubicBezTo>
                    <a:pt x="284" y="237"/>
                    <a:pt x="370" y="190"/>
                    <a:pt x="457" y="190"/>
                  </a:cubicBezTo>
                  <a:cubicBezTo>
                    <a:pt x="569" y="190"/>
                    <a:pt x="627" y="246"/>
                    <a:pt x="635" y="361"/>
                  </a:cubicBezTo>
                  <a:cubicBezTo>
                    <a:pt x="860" y="361"/>
                    <a:pt x="860" y="361"/>
                    <a:pt x="860" y="361"/>
                  </a:cubicBezTo>
                  <a:cubicBezTo>
                    <a:pt x="860" y="132"/>
                    <a:pt x="684" y="0"/>
                    <a:pt x="475" y="0"/>
                  </a:cubicBezTo>
                  <a:cubicBezTo>
                    <a:pt x="266" y="0"/>
                    <a:pt x="39" y="121"/>
                    <a:pt x="39" y="358"/>
                  </a:cubicBezTo>
                  <a:cubicBezTo>
                    <a:pt x="39" y="563"/>
                    <a:pt x="266" y="669"/>
                    <a:pt x="395" y="702"/>
                  </a:cubicBezTo>
                  <a:cubicBezTo>
                    <a:pt x="465" y="721"/>
                    <a:pt x="644" y="741"/>
                    <a:pt x="644" y="869"/>
                  </a:cubicBezTo>
                  <a:cubicBezTo>
                    <a:pt x="644" y="990"/>
                    <a:pt x="519" y="1023"/>
                    <a:pt x="426" y="1023"/>
                  </a:cubicBezTo>
                  <a:cubicBezTo>
                    <a:pt x="305" y="1023"/>
                    <a:pt x="234" y="939"/>
                    <a:pt x="245" y="811"/>
                  </a:cubicBezTo>
                  <a:lnTo>
                    <a:pt x="8" y="81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1CED12F5-3FD1-4D11-A883-C5C5C847F8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7" y="1419"/>
              <a:ext cx="521" cy="610"/>
            </a:xfrm>
            <a:custGeom>
              <a:avLst/>
              <a:gdLst>
                <a:gd name="T0" fmla="*/ 986 w 986"/>
                <a:gd name="T1" fmla="*/ 579 h 1155"/>
                <a:gd name="T2" fmla="*/ 369 w 986"/>
                <a:gd name="T3" fmla="*/ 0 h 1155"/>
                <a:gd name="T4" fmla="*/ 0 w 986"/>
                <a:gd name="T5" fmla="*/ 0 h 1155"/>
                <a:gd name="T6" fmla="*/ 0 w 986"/>
                <a:gd name="T7" fmla="*/ 1155 h 1155"/>
                <a:gd name="T8" fmla="*/ 369 w 986"/>
                <a:gd name="T9" fmla="*/ 1155 h 1155"/>
                <a:gd name="T10" fmla="*/ 986 w 986"/>
                <a:gd name="T11" fmla="*/ 579 h 1155"/>
                <a:gd name="T12" fmla="*/ 352 w 986"/>
                <a:gd name="T13" fmla="*/ 945 h 1155"/>
                <a:gd name="T14" fmla="*/ 250 w 986"/>
                <a:gd name="T15" fmla="*/ 945 h 1155"/>
                <a:gd name="T16" fmla="*/ 250 w 986"/>
                <a:gd name="T17" fmla="*/ 212 h 1155"/>
                <a:gd name="T18" fmla="*/ 352 w 986"/>
                <a:gd name="T19" fmla="*/ 212 h 1155"/>
                <a:gd name="T20" fmla="*/ 734 w 986"/>
                <a:gd name="T21" fmla="*/ 579 h 1155"/>
                <a:gd name="T22" fmla="*/ 352 w 986"/>
                <a:gd name="T23" fmla="*/ 945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6" h="1155">
                  <a:moveTo>
                    <a:pt x="986" y="579"/>
                  </a:moveTo>
                  <a:cubicBezTo>
                    <a:pt x="986" y="179"/>
                    <a:pt x="675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5"/>
                    <a:pt x="0" y="1155"/>
                    <a:pt x="0" y="1155"/>
                  </a:cubicBezTo>
                  <a:cubicBezTo>
                    <a:pt x="369" y="1155"/>
                    <a:pt x="369" y="1155"/>
                    <a:pt x="369" y="1155"/>
                  </a:cubicBezTo>
                  <a:cubicBezTo>
                    <a:pt x="675" y="1155"/>
                    <a:pt x="986" y="978"/>
                    <a:pt x="986" y="579"/>
                  </a:cubicBezTo>
                  <a:close/>
                  <a:moveTo>
                    <a:pt x="352" y="945"/>
                  </a:moveTo>
                  <a:cubicBezTo>
                    <a:pt x="250" y="945"/>
                    <a:pt x="250" y="945"/>
                    <a:pt x="250" y="945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352" y="212"/>
                    <a:pt x="352" y="212"/>
                    <a:pt x="352" y="212"/>
                  </a:cubicBezTo>
                  <a:cubicBezTo>
                    <a:pt x="633" y="212"/>
                    <a:pt x="734" y="396"/>
                    <a:pt x="734" y="579"/>
                  </a:cubicBezTo>
                  <a:cubicBezTo>
                    <a:pt x="734" y="762"/>
                    <a:pt x="633" y="945"/>
                    <a:pt x="352" y="94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6C0B2DB9-75F5-4DE7-8BE6-0B2125AFF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903"/>
              <a:ext cx="217" cy="295"/>
            </a:xfrm>
            <a:custGeom>
              <a:avLst/>
              <a:gdLst>
                <a:gd name="T0" fmla="*/ 217 w 217"/>
                <a:gd name="T1" fmla="*/ 0 h 295"/>
                <a:gd name="T2" fmla="*/ 217 w 217"/>
                <a:gd name="T3" fmla="*/ 32 h 295"/>
                <a:gd name="T4" fmla="*/ 127 w 217"/>
                <a:gd name="T5" fmla="*/ 32 h 295"/>
                <a:gd name="T6" fmla="*/ 127 w 217"/>
                <a:gd name="T7" fmla="*/ 295 h 295"/>
                <a:gd name="T8" fmla="*/ 90 w 217"/>
                <a:gd name="T9" fmla="*/ 295 h 295"/>
                <a:gd name="T10" fmla="*/ 90 w 217"/>
                <a:gd name="T11" fmla="*/ 32 h 295"/>
                <a:gd name="T12" fmla="*/ 0 w 217"/>
                <a:gd name="T13" fmla="*/ 32 h 295"/>
                <a:gd name="T14" fmla="*/ 0 w 217"/>
                <a:gd name="T15" fmla="*/ 0 h 295"/>
                <a:gd name="T16" fmla="*/ 217 w 217"/>
                <a:gd name="T17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95">
                  <a:moveTo>
                    <a:pt x="217" y="0"/>
                  </a:moveTo>
                  <a:lnTo>
                    <a:pt x="217" y="32"/>
                  </a:lnTo>
                  <a:lnTo>
                    <a:pt x="127" y="32"/>
                  </a:lnTo>
                  <a:lnTo>
                    <a:pt x="127" y="295"/>
                  </a:lnTo>
                  <a:lnTo>
                    <a:pt x="90" y="295"/>
                  </a:lnTo>
                  <a:lnTo>
                    <a:pt x="90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62FA97F0-170B-49D9-8F26-C5AA20A19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2903"/>
              <a:ext cx="171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20 w 323"/>
                <a:gd name="T25" fmla="*/ 236 h 558"/>
                <a:gd name="T26" fmla="*/ 170 w 323"/>
                <a:gd name="T27" fmla="*/ 224 h 558"/>
                <a:gd name="T28" fmla="*/ 69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1" y="165"/>
                    <a:pt x="188" y="165"/>
                  </a:cubicBezTo>
                  <a:cubicBezTo>
                    <a:pt x="232" y="165"/>
                    <a:pt x="266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20" y="236"/>
                  </a:cubicBezTo>
                  <a:cubicBezTo>
                    <a:pt x="205" y="227"/>
                    <a:pt x="188" y="223"/>
                    <a:pt x="170" y="224"/>
                  </a:cubicBezTo>
                  <a:cubicBezTo>
                    <a:pt x="119" y="220"/>
                    <a:pt x="73" y="258"/>
                    <a:pt x="69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9FF67D79-2ABE-48A7-8803-7B3C5ECB66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2990"/>
              <a:ext cx="174" cy="215"/>
            </a:xfrm>
            <a:custGeom>
              <a:avLst/>
              <a:gdLst>
                <a:gd name="T0" fmla="*/ 183 w 328"/>
                <a:gd name="T1" fmla="*/ 404 h 407"/>
                <a:gd name="T2" fmla="*/ 48 w 328"/>
                <a:gd name="T3" fmla="*/ 353 h 407"/>
                <a:gd name="T4" fmla="*/ 0 w 328"/>
                <a:gd name="T5" fmla="*/ 200 h 407"/>
                <a:gd name="T6" fmla="*/ 44 w 328"/>
                <a:gd name="T7" fmla="*/ 52 h 407"/>
                <a:gd name="T8" fmla="*/ 171 w 328"/>
                <a:gd name="T9" fmla="*/ 0 h 407"/>
                <a:gd name="T10" fmla="*/ 288 w 328"/>
                <a:gd name="T11" fmla="*/ 44 h 407"/>
                <a:gd name="T12" fmla="*/ 328 w 328"/>
                <a:gd name="T13" fmla="*/ 175 h 407"/>
                <a:gd name="T14" fmla="*/ 328 w 328"/>
                <a:gd name="T15" fmla="*/ 226 h 407"/>
                <a:gd name="T16" fmla="*/ 69 w 328"/>
                <a:gd name="T17" fmla="*/ 226 h 407"/>
                <a:gd name="T18" fmla="*/ 101 w 328"/>
                <a:gd name="T19" fmla="*/ 313 h 407"/>
                <a:gd name="T20" fmla="*/ 192 w 328"/>
                <a:gd name="T21" fmla="*/ 347 h 407"/>
                <a:gd name="T22" fmla="*/ 249 w 328"/>
                <a:gd name="T23" fmla="*/ 338 h 407"/>
                <a:gd name="T24" fmla="*/ 296 w 328"/>
                <a:gd name="T25" fmla="*/ 314 h 407"/>
                <a:gd name="T26" fmla="*/ 323 w 328"/>
                <a:gd name="T27" fmla="*/ 361 h 407"/>
                <a:gd name="T28" fmla="*/ 183 w 328"/>
                <a:gd name="T29" fmla="*/ 404 h 407"/>
                <a:gd name="T30" fmla="*/ 170 w 328"/>
                <a:gd name="T31" fmla="*/ 56 h 407"/>
                <a:gd name="T32" fmla="*/ 95 w 328"/>
                <a:gd name="T33" fmla="*/ 90 h 407"/>
                <a:gd name="T34" fmla="*/ 69 w 328"/>
                <a:gd name="T35" fmla="*/ 172 h 407"/>
                <a:gd name="T36" fmla="*/ 261 w 328"/>
                <a:gd name="T37" fmla="*/ 172 h 407"/>
                <a:gd name="T38" fmla="*/ 252 w 328"/>
                <a:gd name="T39" fmla="*/ 114 h 407"/>
                <a:gd name="T40" fmla="*/ 224 w 328"/>
                <a:gd name="T41" fmla="*/ 72 h 407"/>
                <a:gd name="T42" fmla="*/ 170 w 328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407">
                  <a:moveTo>
                    <a:pt x="183" y="404"/>
                  </a:moveTo>
                  <a:cubicBezTo>
                    <a:pt x="125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1" y="15"/>
                    <a:pt x="288" y="44"/>
                  </a:cubicBezTo>
                  <a:cubicBezTo>
                    <a:pt x="314" y="73"/>
                    <a:pt x="328" y="117"/>
                    <a:pt x="328" y="175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1" y="257"/>
                    <a:pt x="82" y="288"/>
                    <a:pt x="101" y="313"/>
                  </a:cubicBezTo>
                  <a:cubicBezTo>
                    <a:pt x="119" y="336"/>
                    <a:pt x="149" y="348"/>
                    <a:pt x="192" y="347"/>
                  </a:cubicBezTo>
                  <a:cubicBezTo>
                    <a:pt x="211" y="348"/>
                    <a:pt x="231" y="345"/>
                    <a:pt x="249" y="338"/>
                  </a:cubicBezTo>
                  <a:cubicBezTo>
                    <a:pt x="266" y="332"/>
                    <a:pt x="281" y="324"/>
                    <a:pt x="296" y="314"/>
                  </a:cubicBezTo>
                  <a:cubicBezTo>
                    <a:pt x="323" y="361"/>
                    <a:pt x="323" y="361"/>
                    <a:pt x="323" y="361"/>
                  </a:cubicBezTo>
                  <a:cubicBezTo>
                    <a:pt x="283" y="391"/>
                    <a:pt x="233" y="407"/>
                    <a:pt x="183" y="404"/>
                  </a:cubicBezTo>
                  <a:close/>
                  <a:moveTo>
                    <a:pt x="170" y="56"/>
                  </a:moveTo>
                  <a:cubicBezTo>
                    <a:pt x="135" y="56"/>
                    <a:pt x="110" y="67"/>
                    <a:pt x="95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4" y="72"/>
                  </a:cubicBezTo>
                  <a:cubicBezTo>
                    <a:pt x="208" y="61"/>
                    <a:pt x="189" y="55"/>
                    <a:pt x="170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66372D95-32AE-40EE-8AF3-1351F203B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" y="2896"/>
              <a:ext cx="208" cy="308"/>
            </a:xfrm>
            <a:custGeom>
              <a:avLst/>
              <a:gdLst>
                <a:gd name="T0" fmla="*/ 191 w 394"/>
                <a:gd name="T1" fmla="*/ 581 h 582"/>
                <a:gd name="T2" fmla="*/ 88 w 394"/>
                <a:gd name="T3" fmla="*/ 565 h 582"/>
                <a:gd name="T4" fmla="*/ 0 w 394"/>
                <a:gd name="T5" fmla="*/ 513 h 582"/>
                <a:gd name="T6" fmla="*/ 34 w 394"/>
                <a:gd name="T7" fmla="*/ 462 h 582"/>
                <a:gd name="T8" fmla="*/ 104 w 394"/>
                <a:gd name="T9" fmla="*/ 504 h 582"/>
                <a:gd name="T10" fmla="*/ 190 w 394"/>
                <a:gd name="T11" fmla="*/ 519 h 582"/>
                <a:gd name="T12" fmla="*/ 286 w 394"/>
                <a:gd name="T13" fmla="*/ 494 h 582"/>
                <a:gd name="T14" fmla="*/ 320 w 394"/>
                <a:gd name="T15" fmla="*/ 423 h 582"/>
                <a:gd name="T16" fmla="*/ 232 w 394"/>
                <a:gd name="T17" fmla="*/ 324 h 582"/>
                <a:gd name="T18" fmla="*/ 150 w 394"/>
                <a:gd name="T19" fmla="*/ 301 h 582"/>
                <a:gd name="T20" fmla="*/ 46 w 394"/>
                <a:gd name="T21" fmla="*/ 243 h 582"/>
                <a:gd name="T22" fmla="*/ 14 w 394"/>
                <a:gd name="T23" fmla="*/ 156 h 582"/>
                <a:gd name="T24" fmla="*/ 38 w 394"/>
                <a:gd name="T25" fmla="*/ 74 h 582"/>
                <a:gd name="T26" fmla="*/ 105 w 394"/>
                <a:gd name="T27" fmla="*/ 20 h 582"/>
                <a:gd name="T28" fmla="*/ 207 w 394"/>
                <a:gd name="T29" fmla="*/ 1 h 582"/>
                <a:gd name="T30" fmla="*/ 298 w 394"/>
                <a:gd name="T31" fmla="*/ 16 h 582"/>
                <a:gd name="T32" fmla="*/ 374 w 394"/>
                <a:gd name="T33" fmla="*/ 59 h 582"/>
                <a:gd name="T34" fmla="*/ 342 w 394"/>
                <a:gd name="T35" fmla="*/ 107 h 582"/>
                <a:gd name="T36" fmla="*/ 209 w 394"/>
                <a:gd name="T37" fmla="*/ 62 h 582"/>
                <a:gd name="T38" fmla="*/ 118 w 394"/>
                <a:gd name="T39" fmla="*/ 87 h 582"/>
                <a:gd name="T40" fmla="*/ 85 w 394"/>
                <a:gd name="T41" fmla="*/ 151 h 582"/>
                <a:gd name="T42" fmla="*/ 102 w 394"/>
                <a:gd name="T43" fmla="*/ 198 h 582"/>
                <a:gd name="T44" fmla="*/ 165 w 394"/>
                <a:gd name="T45" fmla="*/ 232 h 582"/>
                <a:gd name="T46" fmla="*/ 257 w 394"/>
                <a:gd name="T47" fmla="*/ 258 h 582"/>
                <a:gd name="T48" fmla="*/ 326 w 394"/>
                <a:gd name="T49" fmla="*/ 290 h 582"/>
                <a:gd name="T50" fmla="*/ 374 w 394"/>
                <a:gd name="T51" fmla="*/ 340 h 582"/>
                <a:gd name="T52" fmla="*/ 391 w 394"/>
                <a:gd name="T53" fmla="*/ 417 h 582"/>
                <a:gd name="T54" fmla="*/ 339 w 394"/>
                <a:gd name="T55" fmla="*/ 538 h 582"/>
                <a:gd name="T56" fmla="*/ 191 w 394"/>
                <a:gd name="T57" fmla="*/ 581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4" h="582">
                  <a:moveTo>
                    <a:pt x="191" y="581"/>
                  </a:moveTo>
                  <a:cubicBezTo>
                    <a:pt x="156" y="582"/>
                    <a:pt x="121" y="576"/>
                    <a:pt x="88" y="565"/>
                  </a:cubicBezTo>
                  <a:cubicBezTo>
                    <a:pt x="56" y="553"/>
                    <a:pt x="26" y="536"/>
                    <a:pt x="0" y="513"/>
                  </a:cubicBezTo>
                  <a:cubicBezTo>
                    <a:pt x="34" y="462"/>
                    <a:pt x="34" y="462"/>
                    <a:pt x="34" y="462"/>
                  </a:cubicBezTo>
                  <a:cubicBezTo>
                    <a:pt x="55" y="480"/>
                    <a:pt x="79" y="494"/>
                    <a:pt x="104" y="504"/>
                  </a:cubicBezTo>
                  <a:cubicBezTo>
                    <a:pt x="131" y="515"/>
                    <a:pt x="160" y="520"/>
                    <a:pt x="190" y="519"/>
                  </a:cubicBezTo>
                  <a:cubicBezTo>
                    <a:pt x="224" y="521"/>
                    <a:pt x="257" y="512"/>
                    <a:pt x="286" y="494"/>
                  </a:cubicBezTo>
                  <a:cubicBezTo>
                    <a:pt x="309" y="477"/>
                    <a:pt x="322" y="451"/>
                    <a:pt x="320" y="423"/>
                  </a:cubicBezTo>
                  <a:cubicBezTo>
                    <a:pt x="320" y="374"/>
                    <a:pt x="291" y="341"/>
                    <a:pt x="232" y="324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03" y="286"/>
                    <a:pt x="68" y="267"/>
                    <a:pt x="46" y="243"/>
                  </a:cubicBezTo>
                  <a:cubicBezTo>
                    <a:pt x="25" y="219"/>
                    <a:pt x="13" y="188"/>
                    <a:pt x="14" y="156"/>
                  </a:cubicBezTo>
                  <a:cubicBezTo>
                    <a:pt x="13" y="127"/>
                    <a:pt x="21" y="98"/>
                    <a:pt x="38" y="74"/>
                  </a:cubicBezTo>
                  <a:cubicBezTo>
                    <a:pt x="55" y="50"/>
                    <a:pt x="78" y="32"/>
                    <a:pt x="105" y="20"/>
                  </a:cubicBezTo>
                  <a:cubicBezTo>
                    <a:pt x="137" y="6"/>
                    <a:pt x="172" y="0"/>
                    <a:pt x="207" y="1"/>
                  </a:cubicBezTo>
                  <a:cubicBezTo>
                    <a:pt x="238" y="0"/>
                    <a:pt x="269" y="5"/>
                    <a:pt x="298" y="16"/>
                  </a:cubicBezTo>
                  <a:cubicBezTo>
                    <a:pt x="325" y="26"/>
                    <a:pt x="351" y="40"/>
                    <a:pt x="374" y="59"/>
                  </a:cubicBezTo>
                  <a:cubicBezTo>
                    <a:pt x="342" y="107"/>
                    <a:pt x="342" y="107"/>
                    <a:pt x="342" y="107"/>
                  </a:cubicBezTo>
                  <a:cubicBezTo>
                    <a:pt x="304" y="77"/>
                    <a:pt x="257" y="61"/>
                    <a:pt x="209" y="62"/>
                  </a:cubicBezTo>
                  <a:cubicBezTo>
                    <a:pt x="176" y="60"/>
                    <a:pt x="144" y="69"/>
                    <a:pt x="118" y="87"/>
                  </a:cubicBezTo>
                  <a:cubicBezTo>
                    <a:pt x="97" y="101"/>
                    <a:pt x="85" y="125"/>
                    <a:pt x="85" y="151"/>
                  </a:cubicBezTo>
                  <a:cubicBezTo>
                    <a:pt x="85" y="168"/>
                    <a:pt x="91" y="185"/>
                    <a:pt x="102" y="198"/>
                  </a:cubicBezTo>
                  <a:cubicBezTo>
                    <a:pt x="119" y="215"/>
                    <a:pt x="141" y="227"/>
                    <a:pt x="165" y="232"/>
                  </a:cubicBezTo>
                  <a:cubicBezTo>
                    <a:pt x="257" y="258"/>
                    <a:pt x="257" y="258"/>
                    <a:pt x="257" y="258"/>
                  </a:cubicBezTo>
                  <a:cubicBezTo>
                    <a:pt x="281" y="266"/>
                    <a:pt x="304" y="276"/>
                    <a:pt x="326" y="290"/>
                  </a:cubicBezTo>
                  <a:cubicBezTo>
                    <a:pt x="346" y="302"/>
                    <a:pt x="362" y="320"/>
                    <a:pt x="374" y="340"/>
                  </a:cubicBezTo>
                  <a:cubicBezTo>
                    <a:pt x="386" y="364"/>
                    <a:pt x="392" y="391"/>
                    <a:pt x="391" y="417"/>
                  </a:cubicBezTo>
                  <a:cubicBezTo>
                    <a:pt x="394" y="464"/>
                    <a:pt x="374" y="508"/>
                    <a:pt x="339" y="538"/>
                  </a:cubicBezTo>
                  <a:cubicBezTo>
                    <a:pt x="303" y="567"/>
                    <a:pt x="254" y="581"/>
                    <a:pt x="191" y="581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D8EE0AFD-61CE-4149-A790-67F96713C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89"/>
              <a:ext cx="157" cy="215"/>
            </a:xfrm>
            <a:custGeom>
              <a:avLst/>
              <a:gdLst>
                <a:gd name="T0" fmla="*/ 169 w 298"/>
                <a:gd name="T1" fmla="*/ 406 h 407"/>
                <a:gd name="T2" fmla="*/ 44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6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4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6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8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78113EF9-FEFF-4368-A293-534CFBACA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2910"/>
              <a:ext cx="44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4C307E51-FBEE-4F8D-9138-6C6F16BA3E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2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4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17">
              <a:extLst>
                <a:ext uri="{FF2B5EF4-FFF2-40B4-BE49-F238E27FC236}">
                  <a16:creationId xmlns:a16="http://schemas.microsoft.com/office/drawing/2014/main" id="{710A60C9-D9C2-47CD-9FFA-F8261ABE0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990"/>
              <a:ext cx="176" cy="208"/>
            </a:xfrm>
            <a:custGeom>
              <a:avLst/>
              <a:gdLst>
                <a:gd name="T0" fmla="*/ 10 w 333"/>
                <a:gd name="T1" fmla="*/ 393 h 393"/>
                <a:gd name="T2" fmla="*/ 10 w 333"/>
                <a:gd name="T3" fmla="*/ 95 h 393"/>
                <a:gd name="T4" fmla="*/ 0 w 333"/>
                <a:gd name="T5" fmla="*/ 18 h 393"/>
                <a:gd name="T6" fmla="*/ 59 w 333"/>
                <a:gd name="T7" fmla="*/ 8 h 393"/>
                <a:gd name="T8" fmla="*/ 72 w 333"/>
                <a:gd name="T9" fmla="*/ 67 h 393"/>
                <a:gd name="T10" fmla="*/ 196 w 333"/>
                <a:gd name="T11" fmla="*/ 0 h 393"/>
                <a:gd name="T12" fmla="*/ 297 w 333"/>
                <a:gd name="T13" fmla="*/ 39 h 393"/>
                <a:gd name="T14" fmla="*/ 333 w 333"/>
                <a:gd name="T15" fmla="*/ 152 h 393"/>
                <a:gd name="T16" fmla="*/ 333 w 333"/>
                <a:gd name="T17" fmla="*/ 393 h 393"/>
                <a:gd name="T18" fmla="*/ 265 w 333"/>
                <a:gd name="T19" fmla="*/ 393 h 393"/>
                <a:gd name="T20" fmla="*/ 265 w 333"/>
                <a:gd name="T21" fmla="*/ 160 h 393"/>
                <a:gd name="T22" fmla="*/ 244 w 333"/>
                <a:gd name="T23" fmla="*/ 84 h 393"/>
                <a:gd name="T24" fmla="*/ 179 w 333"/>
                <a:gd name="T25" fmla="*/ 59 h 393"/>
                <a:gd name="T26" fmla="*/ 78 w 333"/>
                <a:gd name="T27" fmla="*/ 145 h 393"/>
                <a:gd name="T28" fmla="*/ 78 w 333"/>
                <a:gd name="T29" fmla="*/ 160 h 393"/>
                <a:gd name="T30" fmla="*/ 78 w 333"/>
                <a:gd name="T31" fmla="*/ 393 h 393"/>
                <a:gd name="T32" fmla="*/ 10 w 333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3" h="393">
                  <a:moveTo>
                    <a:pt x="10" y="393"/>
                  </a:moveTo>
                  <a:cubicBezTo>
                    <a:pt x="10" y="95"/>
                    <a:pt x="10" y="95"/>
                    <a:pt x="10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94" y="22"/>
                    <a:pt x="135" y="0"/>
                    <a:pt x="196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1" y="65"/>
                    <a:pt x="333" y="102"/>
                    <a:pt x="333" y="152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265" y="393"/>
                    <a:pt x="265" y="393"/>
                    <a:pt x="265" y="393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65" y="125"/>
                    <a:pt x="258" y="100"/>
                    <a:pt x="244" y="84"/>
                  </a:cubicBezTo>
                  <a:cubicBezTo>
                    <a:pt x="227" y="66"/>
                    <a:pt x="203" y="57"/>
                    <a:pt x="179" y="59"/>
                  </a:cubicBezTo>
                  <a:cubicBezTo>
                    <a:pt x="127" y="55"/>
                    <a:pt x="82" y="93"/>
                    <a:pt x="78" y="145"/>
                  </a:cubicBezTo>
                  <a:cubicBezTo>
                    <a:pt x="77" y="150"/>
                    <a:pt x="77" y="155"/>
                    <a:pt x="78" y="160"/>
                  </a:cubicBezTo>
                  <a:cubicBezTo>
                    <a:pt x="78" y="393"/>
                    <a:pt x="78" y="393"/>
                    <a:pt x="78" y="393"/>
                  </a:cubicBezTo>
                  <a:lnTo>
                    <a:pt x="10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18">
              <a:extLst>
                <a:ext uri="{FF2B5EF4-FFF2-40B4-BE49-F238E27FC236}">
                  <a16:creationId xmlns:a16="http://schemas.microsoft.com/office/drawing/2014/main" id="{7B6CB46E-0368-410D-B493-DC56A9DB2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" y="2989"/>
              <a:ext cx="158" cy="215"/>
            </a:xfrm>
            <a:custGeom>
              <a:avLst/>
              <a:gdLst>
                <a:gd name="T0" fmla="*/ 169 w 298"/>
                <a:gd name="T1" fmla="*/ 406 h 407"/>
                <a:gd name="T2" fmla="*/ 43 w 298"/>
                <a:gd name="T3" fmla="*/ 357 h 407"/>
                <a:gd name="T4" fmla="*/ 0 w 298"/>
                <a:gd name="T5" fmla="*/ 207 h 407"/>
                <a:gd name="T6" fmla="*/ 45 w 298"/>
                <a:gd name="T7" fmla="*/ 54 h 407"/>
                <a:gd name="T8" fmla="*/ 174 w 298"/>
                <a:gd name="T9" fmla="*/ 2 h 407"/>
                <a:gd name="T10" fmla="*/ 295 w 298"/>
                <a:gd name="T11" fmla="*/ 44 h 407"/>
                <a:gd name="T12" fmla="*/ 267 w 298"/>
                <a:gd name="T13" fmla="*/ 89 h 407"/>
                <a:gd name="T14" fmla="*/ 230 w 298"/>
                <a:gd name="T15" fmla="*/ 68 h 407"/>
                <a:gd name="T16" fmla="*/ 181 w 298"/>
                <a:gd name="T17" fmla="*/ 60 h 407"/>
                <a:gd name="T18" fmla="*/ 70 w 298"/>
                <a:gd name="T19" fmla="*/ 206 h 407"/>
                <a:gd name="T20" fmla="*/ 97 w 298"/>
                <a:gd name="T21" fmla="*/ 312 h 407"/>
                <a:gd name="T22" fmla="*/ 181 w 298"/>
                <a:gd name="T23" fmla="*/ 349 h 407"/>
                <a:gd name="T24" fmla="*/ 233 w 298"/>
                <a:gd name="T25" fmla="*/ 340 h 407"/>
                <a:gd name="T26" fmla="*/ 272 w 298"/>
                <a:gd name="T27" fmla="*/ 321 h 407"/>
                <a:gd name="T28" fmla="*/ 298 w 298"/>
                <a:gd name="T29" fmla="*/ 368 h 407"/>
                <a:gd name="T30" fmla="*/ 243 w 298"/>
                <a:gd name="T31" fmla="*/ 396 h 407"/>
                <a:gd name="T32" fmla="*/ 169 w 298"/>
                <a:gd name="T33" fmla="*/ 40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07">
                  <a:moveTo>
                    <a:pt x="169" y="406"/>
                  </a:moveTo>
                  <a:cubicBezTo>
                    <a:pt x="114" y="406"/>
                    <a:pt x="73" y="390"/>
                    <a:pt x="43" y="357"/>
                  </a:cubicBezTo>
                  <a:cubicBezTo>
                    <a:pt x="14" y="323"/>
                    <a:pt x="0" y="273"/>
                    <a:pt x="0" y="207"/>
                  </a:cubicBezTo>
                  <a:cubicBezTo>
                    <a:pt x="0" y="139"/>
                    <a:pt x="15" y="88"/>
                    <a:pt x="45" y="54"/>
                  </a:cubicBezTo>
                  <a:cubicBezTo>
                    <a:pt x="74" y="19"/>
                    <a:pt x="117" y="2"/>
                    <a:pt x="174" y="2"/>
                  </a:cubicBezTo>
                  <a:cubicBezTo>
                    <a:pt x="218" y="0"/>
                    <a:pt x="261" y="15"/>
                    <a:pt x="295" y="44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56" y="80"/>
                    <a:pt x="243" y="73"/>
                    <a:pt x="230" y="68"/>
                  </a:cubicBezTo>
                  <a:cubicBezTo>
                    <a:pt x="214" y="62"/>
                    <a:pt x="198" y="60"/>
                    <a:pt x="181" y="60"/>
                  </a:cubicBezTo>
                  <a:cubicBezTo>
                    <a:pt x="107" y="60"/>
                    <a:pt x="70" y="109"/>
                    <a:pt x="70" y="206"/>
                  </a:cubicBezTo>
                  <a:cubicBezTo>
                    <a:pt x="70" y="252"/>
                    <a:pt x="79" y="288"/>
                    <a:pt x="97" y="312"/>
                  </a:cubicBezTo>
                  <a:cubicBezTo>
                    <a:pt x="117" y="337"/>
                    <a:pt x="149" y="351"/>
                    <a:pt x="181" y="349"/>
                  </a:cubicBezTo>
                  <a:cubicBezTo>
                    <a:pt x="199" y="349"/>
                    <a:pt x="216" y="346"/>
                    <a:pt x="233" y="340"/>
                  </a:cubicBezTo>
                  <a:cubicBezTo>
                    <a:pt x="246" y="335"/>
                    <a:pt x="259" y="328"/>
                    <a:pt x="272" y="321"/>
                  </a:cubicBezTo>
                  <a:cubicBezTo>
                    <a:pt x="298" y="368"/>
                    <a:pt x="298" y="368"/>
                    <a:pt x="298" y="368"/>
                  </a:cubicBezTo>
                  <a:cubicBezTo>
                    <a:pt x="281" y="380"/>
                    <a:pt x="263" y="390"/>
                    <a:pt x="243" y="396"/>
                  </a:cubicBezTo>
                  <a:cubicBezTo>
                    <a:pt x="219" y="403"/>
                    <a:pt x="194" y="407"/>
                    <a:pt x="169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19">
              <a:extLst>
                <a:ext uri="{FF2B5EF4-FFF2-40B4-BE49-F238E27FC236}">
                  <a16:creationId xmlns:a16="http://schemas.microsoft.com/office/drawing/2014/main" id="{FB9BE934-0293-4717-B8C7-7C7314B2A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3" y="2990"/>
              <a:ext cx="172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1 w 327"/>
                <a:gd name="T19" fmla="*/ 314 h 407"/>
                <a:gd name="T20" fmla="*/ 191 w 327"/>
                <a:gd name="T21" fmla="*/ 348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80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5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2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1" y="314"/>
                  </a:cubicBezTo>
                  <a:cubicBezTo>
                    <a:pt x="119" y="336"/>
                    <a:pt x="149" y="348"/>
                    <a:pt x="191" y="348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8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8" y="61"/>
                    <a:pt x="189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B9E5FD2D-330E-4C19-9D64-1BFD7CCF7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" y="2990"/>
              <a:ext cx="182" cy="213"/>
            </a:xfrm>
            <a:custGeom>
              <a:avLst/>
              <a:gdLst>
                <a:gd name="T0" fmla="*/ 172 w 346"/>
                <a:gd name="T1" fmla="*/ 404 h 404"/>
                <a:gd name="T2" fmla="*/ 43 w 346"/>
                <a:gd name="T3" fmla="*/ 353 h 404"/>
                <a:gd name="T4" fmla="*/ 0 w 346"/>
                <a:gd name="T5" fmla="*/ 203 h 404"/>
                <a:gd name="T6" fmla="*/ 44 w 346"/>
                <a:gd name="T7" fmla="*/ 53 h 404"/>
                <a:gd name="T8" fmla="*/ 174 w 346"/>
                <a:gd name="T9" fmla="*/ 0 h 404"/>
                <a:gd name="T10" fmla="*/ 302 w 346"/>
                <a:gd name="T11" fmla="*/ 52 h 404"/>
                <a:gd name="T12" fmla="*/ 346 w 346"/>
                <a:gd name="T13" fmla="*/ 201 h 404"/>
                <a:gd name="T14" fmla="*/ 301 w 346"/>
                <a:gd name="T15" fmla="*/ 353 h 404"/>
                <a:gd name="T16" fmla="*/ 172 w 346"/>
                <a:gd name="T17" fmla="*/ 404 h 404"/>
                <a:gd name="T18" fmla="*/ 173 w 346"/>
                <a:gd name="T19" fmla="*/ 347 h 404"/>
                <a:gd name="T20" fmla="*/ 250 w 346"/>
                <a:gd name="T21" fmla="*/ 312 h 404"/>
                <a:gd name="T22" fmla="*/ 275 w 346"/>
                <a:gd name="T23" fmla="*/ 202 h 404"/>
                <a:gd name="T24" fmla="*/ 250 w 346"/>
                <a:gd name="T25" fmla="*/ 93 h 404"/>
                <a:gd name="T26" fmla="*/ 174 w 346"/>
                <a:gd name="T27" fmla="*/ 58 h 404"/>
                <a:gd name="T28" fmla="*/ 96 w 346"/>
                <a:gd name="T29" fmla="*/ 93 h 404"/>
                <a:gd name="T30" fmla="*/ 70 w 346"/>
                <a:gd name="T31" fmla="*/ 203 h 404"/>
                <a:gd name="T32" fmla="*/ 96 w 346"/>
                <a:gd name="T33" fmla="*/ 312 h 404"/>
                <a:gd name="T34" fmla="*/ 173 w 346"/>
                <a:gd name="T35" fmla="*/ 3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404">
                  <a:moveTo>
                    <a:pt x="172" y="404"/>
                  </a:moveTo>
                  <a:cubicBezTo>
                    <a:pt x="115" y="404"/>
                    <a:pt x="72" y="387"/>
                    <a:pt x="43" y="353"/>
                  </a:cubicBezTo>
                  <a:cubicBezTo>
                    <a:pt x="14" y="319"/>
                    <a:pt x="0" y="269"/>
                    <a:pt x="0" y="203"/>
                  </a:cubicBezTo>
                  <a:cubicBezTo>
                    <a:pt x="0" y="138"/>
                    <a:pt x="15" y="88"/>
                    <a:pt x="44" y="53"/>
                  </a:cubicBezTo>
                  <a:cubicBezTo>
                    <a:pt x="74" y="18"/>
                    <a:pt x="117" y="0"/>
                    <a:pt x="174" y="0"/>
                  </a:cubicBezTo>
                  <a:cubicBezTo>
                    <a:pt x="230" y="0"/>
                    <a:pt x="273" y="17"/>
                    <a:pt x="302" y="52"/>
                  </a:cubicBezTo>
                  <a:cubicBezTo>
                    <a:pt x="331" y="86"/>
                    <a:pt x="346" y="136"/>
                    <a:pt x="346" y="201"/>
                  </a:cubicBezTo>
                  <a:cubicBezTo>
                    <a:pt x="346" y="268"/>
                    <a:pt x="331" y="318"/>
                    <a:pt x="301" y="353"/>
                  </a:cubicBezTo>
                  <a:cubicBezTo>
                    <a:pt x="272" y="387"/>
                    <a:pt x="229" y="404"/>
                    <a:pt x="172" y="404"/>
                  </a:cubicBezTo>
                  <a:close/>
                  <a:moveTo>
                    <a:pt x="173" y="347"/>
                  </a:moveTo>
                  <a:cubicBezTo>
                    <a:pt x="203" y="349"/>
                    <a:pt x="232" y="336"/>
                    <a:pt x="250" y="312"/>
                  </a:cubicBezTo>
                  <a:cubicBezTo>
                    <a:pt x="267" y="288"/>
                    <a:pt x="275" y="252"/>
                    <a:pt x="275" y="202"/>
                  </a:cubicBezTo>
                  <a:cubicBezTo>
                    <a:pt x="275" y="152"/>
                    <a:pt x="267" y="116"/>
                    <a:pt x="250" y="93"/>
                  </a:cubicBezTo>
                  <a:cubicBezTo>
                    <a:pt x="232" y="69"/>
                    <a:pt x="204" y="56"/>
                    <a:pt x="174" y="58"/>
                  </a:cubicBezTo>
                  <a:cubicBezTo>
                    <a:pt x="144" y="56"/>
                    <a:pt x="114" y="69"/>
                    <a:pt x="96" y="93"/>
                  </a:cubicBezTo>
                  <a:cubicBezTo>
                    <a:pt x="79" y="117"/>
                    <a:pt x="70" y="153"/>
                    <a:pt x="70" y="203"/>
                  </a:cubicBezTo>
                  <a:cubicBezTo>
                    <a:pt x="70" y="252"/>
                    <a:pt x="79" y="289"/>
                    <a:pt x="96" y="312"/>
                  </a:cubicBezTo>
                  <a:cubicBezTo>
                    <a:pt x="114" y="336"/>
                    <a:pt x="143" y="349"/>
                    <a:pt x="173" y="347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0E2B1CEE-D39D-4CB8-9275-B2F5E7377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895"/>
              <a:ext cx="155" cy="303"/>
            </a:xfrm>
            <a:custGeom>
              <a:avLst/>
              <a:gdLst>
                <a:gd name="T0" fmla="*/ 68 w 293"/>
                <a:gd name="T1" fmla="*/ 572 h 572"/>
                <a:gd name="T2" fmla="*/ 68 w 293"/>
                <a:gd name="T3" fmla="*/ 243 h 572"/>
                <a:gd name="T4" fmla="*/ 0 w 293"/>
                <a:gd name="T5" fmla="*/ 243 h 572"/>
                <a:gd name="T6" fmla="*/ 0 w 293"/>
                <a:gd name="T7" fmla="*/ 198 h 572"/>
                <a:gd name="T8" fmla="*/ 68 w 293"/>
                <a:gd name="T9" fmla="*/ 190 h 572"/>
                <a:gd name="T10" fmla="*/ 68 w 293"/>
                <a:gd name="T11" fmla="*/ 165 h 572"/>
                <a:gd name="T12" fmla="*/ 104 w 293"/>
                <a:gd name="T13" fmla="*/ 46 h 572"/>
                <a:gd name="T14" fmla="*/ 204 w 293"/>
                <a:gd name="T15" fmla="*/ 3 h 572"/>
                <a:gd name="T16" fmla="*/ 255 w 293"/>
                <a:gd name="T17" fmla="*/ 10 h 572"/>
                <a:gd name="T18" fmla="*/ 293 w 293"/>
                <a:gd name="T19" fmla="*/ 27 h 572"/>
                <a:gd name="T20" fmla="*/ 272 w 293"/>
                <a:gd name="T21" fmla="*/ 73 h 572"/>
                <a:gd name="T22" fmla="*/ 247 w 293"/>
                <a:gd name="T23" fmla="*/ 65 h 572"/>
                <a:gd name="T24" fmla="*/ 219 w 293"/>
                <a:gd name="T25" fmla="*/ 62 h 572"/>
                <a:gd name="T26" fmla="*/ 159 w 293"/>
                <a:gd name="T27" fmla="*/ 85 h 572"/>
                <a:gd name="T28" fmla="*/ 136 w 293"/>
                <a:gd name="T29" fmla="*/ 157 h 572"/>
                <a:gd name="T30" fmla="*/ 136 w 293"/>
                <a:gd name="T31" fmla="*/ 190 h 572"/>
                <a:gd name="T32" fmla="*/ 255 w 293"/>
                <a:gd name="T33" fmla="*/ 190 h 572"/>
                <a:gd name="T34" fmla="*/ 255 w 293"/>
                <a:gd name="T35" fmla="*/ 243 h 572"/>
                <a:gd name="T36" fmla="*/ 136 w 293"/>
                <a:gd name="T37" fmla="*/ 243 h 572"/>
                <a:gd name="T38" fmla="*/ 136 w 293"/>
                <a:gd name="T39" fmla="*/ 572 h 572"/>
                <a:gd name="T40" fmla="*/ 68 w 293"/>
                <a:gd name="T41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3" h="572">
                  <a:moveTo>
                    <a:pt x="68" y="572"/>
                  </a:moveTo>
                  <a:cubicBezTo>
                    <a:pt x="68" y="243"/>
                    <a:pt x="68" y="243"/>
                    <a:pt x="6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68" y="190"/>
                    <a:pt x="68" y="190"/>
                    <a:pt x="68" y="190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8" y="114"/>
                    <a:pt x="80" y="75"/>
                    <a:pt x="104" y="46"/>
                  </a:cubicBezTo>
                  <a:cubicBezTo>
                    <a:pt x="129" y="16"/>
                    <a:pt x="166" y="0"/>
                    <a:pt x="204" y="3"/>
                  </a:cubicBezTo>
                  <a:cubicBezTo>
                    <a:pt x="222" y="2"/>
                    <a:pt x="239" y="5"/>
                    <a:pt x="255" y="10"/>
                  </a:cubicBezTo>
                  <a:cubicBezTo>
                    <a:pt x="269" y="13"/>
                    <a:pt x="281" y="19"/>
                    <a:pt x="293" y="27"/>
                  </a:cubicBezTo>
                  <a:cubicBezTo>
                    <a:pt x="272" y="73"/>
                    <a:pt x="272" y="73"/>
                    <a:pt x="272" y="73"/>
                  </a:cubicBezTo>
                  <a:cubicBezTo>
                    <a:pt x="264" y="70"/>
                    <a:pt x="255" y="67"/>
                    <a:pt x="247" y="65"/>
                  </a:cubicBezTo>
                  <a:cubicBezTo>
                    <a:pt x="238" y="63"/>
                    <a:pt x="229" y="62"/>
                    <a:pt x="219" y="62"/>
                  </a:cubicBezTo>
                  <a:cubicBezTo>
                    <a:pt x="197" y="60"/>
                    <a:pt x="174" y="69"/>
                    <a:pt x="159" y="85"/>
                  </a:cubicBezTo>
                  <a:cubicBezTo>
                    <a:pt x="142" y="105"/>
                    <a:pt x="134" y="131"/>
                    <a:pt x="136" y="157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255" y="190"/>
                    <a:pt x="255" y="190"/>
                    <a:pt x="255" y="190"/>
                  </a:cubicBezTo>
                  <a:cubicBezTo>
                    <a:pt x="255" y="243"/>
                    <a:pt x="255" y="243"/>
                    <a:pt x="255" y="243"/>
                  </a:cubicBezTo>
                  <a:cubicBezTo>
                    <a:pt x="136" y="243"/>
                    <a:pt x="136" y="243"/>
                    <a:pt x="136" y="243"/>
                  </a:cubicBezTo>
                  <a:cubicBezTo>
                    <a:pt x="136" y="572"/>
                    <a:pt x="136" y="572"/>
                    <a:pt x="136" y="572"/>
                  </a:cubicBezTo>
                  <a:lnTo>
                    <a:pt x="68" y="57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2">
              <a:extLst>
                <a:ext uri="{FF2B5EF4-FFF2-40B4-BE49-F238E27FC236}">
                  <a16:creationId xmlns:a16="http://schemas.microsoft.com/office/drawing/2014/main" id="{3C432640-A265-4E85-B960-3021E2D24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903"/>
              <a:ext cx="217" cy="295"/>
            </a:xfrm>
            <a:custGeom>
              <a:avLst/>
              <a:gdLst>
                <a:gd name="T0" fmla="*/ 0 w 217"/>
                <a:gd name="T1" fmla="*/ 295 h 295"/>
                <a:gd name="T2" fmla="*/ 0 w 217"/>
                <a:gd name="T3" fmla="*/ 0 h 295"/>
                <a:gd name="T4" fmla="*/ 37 w 217"/>
                <a:gd name="T5" fmla="*/ 0 h 295"/>
                <a:gd name="T6" fmla="*/ 37 w 217"/>
                <a:gd name="T7" fmla="*/ 128 h 295"/>
                <a:gd name="T8" fmla="*/ 179 w 217"/>
                <a:gd name="T9" fmla="*/ 128 h 295"/>
                <a:gd name="T10" fmla="*/ 179 w 217"/>
                <a:gd name="T11" fmla="*/ 0 h 295"/>
                <a:gd name="T12" fmla="*/ 217 w 217"/>
                <a:gd name="T13" fmla="*/ 0 h 295"/>
                <a:gd name="T14" fmla="*/ 217 w 217"/>
                <a:gd name="T15" fmla="*/ 295 h 295"/>
                <a:gd name="T16" fmla="*/ 179 w 217"/>
                <a:gd name="T17" fmla="*/ 295 h 295"/>
                <a:gd name="T18" fmla="*/ 179 w 217"/>
                <a:gd name="T19" fmla="*/ 160 h 295"/>
                <a:gd name="T20" fmla="*/ 37 w 217"/>
                <a:gd name="T21" fmla="*/ 160 h 295"/>
                <a:gd name="T22" fmla="*/ 37 w 217"/>
                <a:gd name="T23" fmla="*/ 295 h 295"/>
                <a:gd name="T24" fmla="*/ 0 w 217"/>
                <a:gd name="T2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295">
                  <a:moveTo>
                    <a:pt x="0" y="295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28"/>
                  </a:lnTo>
                  <a:lnTo>
                    <a:pt x="179" y="128"/>
                  </a:lnTo>
                  <a:lnTo>
                    <a:pt x="179" y="0"/>
                  </a:lnTo>
                  <a:lnTo>
                    <a:pt x="217" y="0"/>
                  </a:lnTo>
                  <a:lnTo>
                    <a:pt x="217" y="295"/>
                  </a:lnTo>
                  <a:lnTo>
                    <a:pt x="179" y="295"/>
                  </a:lnTo>
                  <a:lnTo>
                    <a:pt x="179" y="160"/>
                  </a:lnTo>
                  <a:lnTo>
                    <a:pt x="37" y="160"/>
                  </a:lnTo>
                  <a:lnTo>
                    <a:pt x="37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3">
              <a:extLst>
                <a:ext uri="{FF2B5EF4-FFF2-40B4-BE49-F238E27FC236}">
                  <a16:creationId xmlns:a16="http://schemas.microsoft.com/office/drawing/2014/main" id="{A4E65117-0BD9-4BD7-BA35-3A2DAE0BF5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2990"/>
              <a:ext cx="173" cy="215"/>
            </a:xfrm>
            <a:custGeom>
              <a:avLst/>
              <a:gdLst>
                <a:gd name="T0" fmla="*/ 183 w 327"/>
                <a:gd name="T1" fmla="*/ 404 h 407"/>
                <a:gd name="T2" fmla="*/ 48 w 327"/>
                <a:gd name="T3" fmla="*/ 353 h 407"/>
                <a:gd name="T4" fmla="*/ 0 w 327"/>
                <a:gd name="T5" fmla="*/ 200 h 407"/>
                <a:gd name="T6" fmla="*/ 44 w 327"/>
                <a:gd name="T7" fmla="*/ 52 h 407"/>
                <a:gd name="T8" fmla="*/ 171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9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9 w 327"/>
                <a:gd name="T23" fmla="*/ 338 h 407"/>
                <a:gd name="T24" fmla="*/ 296 w 327"/>
                <a:gd name="T25" fmla="*/ 314 h 407"/>
                <a:gd name="T26" fmla="*/ 322 w 327"/>
                <a:gd name="T27" fmla="*/ 361 h 407"/>
                <a:gd name="T28" fmla="*/ 183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9 w 327"/>
                <a:gd name="T35" fmla="*/ 172 h 407"/>
                <a:gd name="T36" fmla="*/ 260 w 327"/>
                <a:gd name="T37" fmla="*/ 172 h 407"/>
                <a:gd name="T38" fmla="*/ 252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3" y="404"/>
                  </a:moveTo>
                  <a:cubicBezTo>
                    <a:pt x="124" y="404"/>
                    <a:pt x="79" y="387"/>
                    <a:pt x="48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4" y="52"/>
                  </a:cubicBezTo>
                  <a:cubicBezTo>
                    <a:pt x="73" y="18"/>
                    <a:pt x="115" y="0"/>
                    <a:pt x="171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9" y="226"/>
                    <a:pt x="69" y="226"/>
                    <a:pt x="69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9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9" y="338"/>
                  </a:cubicBezTo>
                  <a:cubicBezTo>
                    <a:pt x="265" y="332"/>
                    <a:pt x="281" y="324"/>
                    <a:pt x="296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3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10" y="67"/>
                    <a:pt x="94" y="90"/>
                  </a:cubicBezTo>
                  <a:cubicBezTo>
                    <a:pt x="78" y="114"/>
                    <a:pt x="69" y="143"/>
                    <a:pt x="69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2" y="114"/>
                  </a:cubicBezTo>
                  <a:cubicBezTo>
                    <a:pt x="247" y="97"/>
                    <a:pt x="237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4">
              <a:extLst>
                <a:ext uri="{FF2B5EF4-FFF2-40B4-BE49-F238E27FC236}">
                  <a16:creationId xmlns:a16="http://schemas.microsoft.com/office/drawing/2014/main" id="{F3A29709-31B0-4808-B595-CC5064B30B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4 w 317"/>
                <a:gd name="T3" fmla="*/ 371 h 405"/>
                <a:gd name="T4" fmla="*/ 1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7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4 w 317"/>
                <a:gd name="T17" fmla="*/ 43 h 405"/>
                <a:gd name="T18" fmla="*/ 162 w 317"/>
                <a:gd name="T19" fmla="*/ 1 h 405"/>
                <a:gd name="T20" fmla="*/ 307 w 317"/>
                <a:gd name="T21" fmla="*/ 145 h 405"/>
                <a:gd name="T22" fmla="*/ 307 w 317"/>
                <a:gd name="T23" fmla="*/ 308 h 405"/>
                <a:gd name="T24" fmla="*/ 317 w 317"/>
                <a:gd name="T25" fmla="*/ 388 h 405"/>
                <a:gd name="T26" fmla="*/ 258 w 317"/>
                <a:gd name="T27" fmla="*/ 397 h 405"/>
                <a:gd name="T28" fmla="*/ 245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89" y="405"/>
                    <a:pt x="58" y="393"/>
                    <a:pt x="34" y="371"/>
                  </a:cubicBezTo>
                  <a:cubicBezTo>
                    <a:pt x="12" y="349"/>
                    <a:pt x="0" y="319"/>
                    <a:pt x="1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3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7" y="77"/>
                  </a:cubicBezTo>
                  <a:cubicBezTo>
                    <a:pt x="204" y="64"/>
                    <a:pt x="182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64" y="14"/>
                    <a:pt x="113" y="0"/>
                    <a:pt x="162" y="1"/>
                  </a:cubicBezTo>
                  <a:cubicBezTo>
                    <a:pt x="259" y="1"/>
                    <a:pt x="307" y="49"/>
                    <a:pt x="307" y="145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8" y="397"/>
                    <a:pt x="258" y="397"/>
                    <a:pt x="258" y="397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34" y="358"/>
                    <a:pt x="217" y="375"/>
                    <a:pt x="196" y="386"/>
                  </a:cubicBezTo>
                  <a:cubicBezTo>
                    <a:pt x="173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69" y="301"/>
                    <a:pt x="76" y="318"/>
                    <a:pt x="89" y="330"/>
                  </a:cubicBezTo>
                  <a:cubicBezTo>
                    <a:pt x="103" y="343"/>
                    <a:pt x="122" y="349"/>
                    <a:pt x="141" y="348"/>
                  </a:cubicBezTo>
                  <a:cubicBezTo>
                    <a:pt x="167" y="349"/>
                    <a:pt x="193" y="339"/>
                    <a:pt x="213" y="321"/>
                  </a:cubicBezTo>
                  <a:cubicBezTo>
                    <a:pt x="231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25">
              <a:extLst>
                <a:ext uri="{FF2B5EF4-FFF2-40B4-BE49-F238E27FC236}">
                  <a16:creationId xmlns:a16="http://schemas.microsoft.com/office/drawing/2014/main" id="{C11F4867-8455-4744-8CE6-F8FC97E196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903"/>
              <a:ext cx="35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CAFD57C8-48F8-43FC-87FE-05D4CB36A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2938"/>
              <a:ext cx="153" cy="264"/>
            </a:xfrm>
            <a:custGeom>
              <a:avLst/>
              <a:gdLst>
                <a:gd name="T0" fmla="*/ 192 w 288"/>
                <a:gd name="T1" fmla="*/ 498 h 499"/>
                <a:gd name="T2" fmla="*/ 70 w 288"/>
                <a:gd name="T3" fmla="*/ 358 h 499"/>
                <a:gd name="T4" fmla="*/ 70 w 288"/>
                <a:gd name="T5" fmla="*/ 162 h 499"/>
                <a:gd name="T6" fmla="*/ 0 w 288"/>
                <a:gd name="T7" fmla="*/ 162 h 499"/>
                <a:gd name="T8" fmla="*/ 0 w 288"/>
                <a:gd name="T9" fmla="*/ 117 h 499"/>
                <a:gd name="T10" fmla="*/ 70 w 288"/>
                <a:gd name="T11" fmla="*/ 109 h 499"/>
                <a:gd name="T12" fmla="*/ 70 w 288"/>
                <a:gd name="T13" fmla="*/ 0 h 499"/>
                <a:gd name="T14" fmla="*/ 138 w 288"/>
                <a:gd name="T15" fmla="*/ 0 h 499"/>
                <a:gd name="T16" fmla="*/ 138 w 288"/>
                <a:gd name="T17" fmla="*/ 109 h 499"/>
                <a:gd name="T18" fmla="*/ 255 w 288"/>
                <a:gd name="T19" fmla="*/ 109 h 499"/>
                <a:gd name="T20" fmla="*/ 255 w 288"/>
                <a:gd name="T21" fmla="*/ 162 h 499"/>
                <a:gd name="T22" fmla="*/ 138 w 288"/>
                <a:gd name="T23" fmla="*/ 162 h 499"/>
                <a:gd name="T24" fmla="*/ 138 w 288"/>
                <a:gd name="T25" fmla="*/ 356 h 499"/>
                <a:gd name="T26" fmla="*/ 202 w 288"/>
                <a:gd name="T27" fmla="*/ 440 h 499"/>
                <a:gd name="T28" fmla="*/ 236 w 288"/>
                <a:gd name="T29" fmla="*/ 436 h 499"/>
                <a:gd name="T30" fmla="*/ 268 w 288"/>
                <a:gd name="T31" fmla="*/ 423 h 499"/>
                <a:gd name="T32" fmla="*/ 288 w 288"/>
                <a:gd name="T33" fmla="*/ 473 h 499"/>
                <a:gd name="T34" fmla="*/ 192 w 288"/>
                <a:gd name="T35" fmla="*/ 498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499">
                  <a:moveTo>
                    <a:pt x="192" y="498"/>
                  </a:moveTo>
                  <a:cubicBezTo>
                    <a:pt x="111" y="498"/>
                    <a:pt x="70" y="451"/>
                    <a:pt x="70" y="358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255" y="109"/>
                    <a:pt x="255" y="109"/>
                    <a:pt x="255" y="109"/>
                  </a:cubicBezTo>
                  <a:cubicBezTo>
                    <a:pt x="255" y="162"/>
                    <a:pt x="255" y="162"/>
                    <a:pt x="255" y="16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412"/>
                    <a:pt x="160" y="440"/>
                    <a:pt x="202" y="440"/>
                  </a:cubicBezTo>
                  <a:cubicBezTo>
                    <a:pt x="213" y="440"/>
                    <a:pt x="225" y="439"/>
                    <a:pt x="236" y="436"/>
                  </a:cubicBezTo>
                  <a:cubicBezTo>
                    <a:pt x="247" y="433"/>
                    <a:pt x="258" y="428"/>
                    <a:pt x="268" y="423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59" y="490"/>
                    <a:pt x="226" y="499"/>
                    <a:pt x="192" y="49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64DF48F2-1583-4DB4-B33E-1C6FF860D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903"/>
              <a:ext cx="170" cy="295"/>
            </a:xfrm>
            <a:custGeom>
              <a:avLst/>
              <a:gdLst>
                <a:gd name="T0" fmla="*/ 0 w 323"/>
                <a:gd name="T1" fmla="*/ 558 h 558"/>
                <a:gd name="T2" fmla="*/ 0 w 323"/>
                <a:gd name="T3" fmla="*/ 0 h 558"/>
                <a:gd name="T4" fmla="*/ 68 w 323"/>
                <a:gd name="T5" fmla="*/ 0 h 558"/>
                <a:gd name="T6" fmla="*/ 68 w 323"/>
                <a:gd name="T7" fmla="*/ 227 h 558"/>
                <a:gd name="T8" fmla="*/ 188 w 323"/>
                <a:gd name="T9" fmla="*/ 165 h 558"/>
                <a:gd name="T10" fmla="*/ 289 w 323"/>
                <a:gd name="T11" fmla="*/ 204 h 558"/>
                <a:gd name="T12" fmla="*/ 323 w 323"/>
                <a:gd name="T13" fmla="*/ 317 h 558"/>
                <a:gd name="T14" fmla="*/ 323 w 323"/>
                <a:gd name="T15" fmla="*/ 558 h 558"/>
                <a:gd name="T16" fmla="*/ 255 w 323"/>
                <a:gd name="T17" fmla="*/ 558 h 558"/>
                <a:gd name="T18" fmla="*/ 255 w 323"/>
                <a:gd name="T19" fmla="*/ 325 h 558"/>
                <a:gd name="T20" fmla="*/ 254 w 323"/>
                <a:gd name="T21" fmla="*/ 298 h 558"/>
                <a:gd name="T22" fmla="*/ 245 w 323"/>
                <a:gd name="T23" fmla="*/ 264 h 558"/>
                <a:gd name="T24" fmla="*/ 219 w 323"/>
                <a:gd name="T25" fmla="*/ 236 h 558"/>
                <a:gd name="T26" fmla="*/ 170 w 323"/>
                <a:gd name="T27" fmla="*/ 224 h 558"/>
                <a:gd name="T28" fmla="*/ 68 w 323"/>
                <a:gd name="T29" fmla="*/ 309 h 558"/>
                <a:gd name="T30" fmla="*/ 68 w 323"/>
                <a:gd name="T31" fmla="*/ 325 h 558"/>
                <a:gd name="T32" fmla="*/ 68 w 323"/>
                <a:gd name="T33" fmla="*/ 558 h 558"/>
                <a:gd name="T34" fmla="*/ 0 w 323"/>
                <a:gd name="T3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558">
                  <a:moveTo>
                    <a:pt x="0" y="5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27"/>
                    <a:pt x="68" y="227"/>
                    <a:pt x="68" y="227"/>
                  </a:cubicBezTo>
                  <a:cubicBezTo>
                    <a:pt x="90" y="186"/>
                    <a:pt x="130" y="165"/>
                    <a:pt x="188" y="165"/>
                  </a:cubicBezTo>
                  <a:cubicBezTo>
                    <a:pt x="232" y="165"/>
                    <a:pt x="265" y="178"/>
                    <a:pt x="289" y="204"/>
                  </a:cubicBezTo>
                  <a:cubicBezTo>
                    <a:pt x="312" y="230"/>
                    <a:pt x="323" y="268"/>
                    <a:pt x="323" y="317"/>
                  </a:cubicBezTo>
                  <a:cubicBezTo>
                    <a:pt x="323" y="558"/>
                    <a:pt x="323" y="558"/>
                    <a:pt x="323" y="558"/>
                  </a:cubicBezTo>
                  <a:cubicBezTo>
                    <a:pt x="255" y="558"/>
                    <a:pt x="255" y="558"/>
                    <a:pt x="255" y="558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55" y="318"/>
                    <a:pt x="255" y="309"/>
                    <a:pt x="254" y="298"/>
                  </a:cubicBezTo>
                  <a:cubicBezTo>
                    <a:pt x="253" y="286"/>
                    <a:pt x="250" y="275"/>
                    <a:pt x="245" y="264"/>
                  </a:cubicBezTo>
                  <a:cubicBezTo>
                    <a:pt x="239" y="252"/>
                    <a:pt x="230" y="243"/>
                    <a:pt x="219" y="236"/>
                  </a:cubicBezTo>
                  <a:cubicBezTo>
                    <a:pt x="205" y="227"/>
                    <a:pt x="187" y="223"/>
                    <a:pt x="170" y="224"/>
                  </a:cubicBezTo>
                  <a:cubicBezTo>
                    <a:pt x="119" y="220"/>
                    <a:pt x="73" y="258"/>
                    <a:pt x="68" y="309"/>
                  </a:cubicBezTo>
                  <a:cubicBezTo>
                    <a:pt x="68" y="314"/>
                    <a:pt x="68" y="320"/>
                    <a:pt x="68" y="325"/>
                  </a:cubicBezTo>
                  <a:cubicBezTo>
                    <a:pt x="68" y="558"/>
                    <a:pt x="68" y="558"/>
                    <a:pt x="68" y="558"/>
                  </a:cubicBezTo>
                  <a:lnTo>
                    <a:pt x="0" y="55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8">
              <a:extLst>
                <a:ext uri="{FF2B5EF4-FFF2-40B4-BE49-F238E27FC236}">
                  <a16:creationId xmlns:a16="http://schemas.microsoft.com/office/drawing/2014/main" id="{628B2C40-CD57-449F-806D-423C8BEDB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10"/>
              <a:ext cx="43" cy="288"/>
            </a:xfrm>
            <a:custGeom>
              <a:avLst/>
              <a:gdLst>
                <a:gd name="T0" fmla="*/ 41 w 83"/>
                <a:gd name="T1" fmla="*/ 90 h 544"/>
                <a:gd name="T2" fmla="*/ 0 w 83"/>
                <a:gd name="T3" fmla="*/ 45 h 544"/>
                <a:gd name="T4" fmla="*/ 41 w 83"/>
                <a:gd name="T5" fmla="*/ 0 h 544"/>
                <a:gd name="T6" fmla="*/ 83 w 83"/>
                <a:gd name="T7" fmla="*/ 45 h 544"/>
                <a:gd name="T8" fmla="*/ 41 w 83"/>
                <a:gd name="T9" fmla="*/ 90 h 544"/>
                <a:gd name="T10" fmla="*/ 7 w 83"/>
                <a:gd name="T11" fmla="*/ 544 h 544"/>
                <a:gd name="T12" fmla="*/ 7 w 83"/>
                <a:gd name="T13" fmla="*/ 162 h 544"/>
                <a:gd name="T14" fmla="*/ 75 w 83"/>
                <a:gd name="T15" fmla="*/ 162 h 544"/>
                <a:gd name="T16" fmla="*/ 75 w 83"/>
                <a:gd name="T17" fmla="*/ 544 h 544"/>
                <a:gd name="T18" fmla="*/ 7 w 83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544">
                  <a:moveTo>
                    <a:pt x="41" y="90"/>
                  </a:moveTo>
                  <a:cubicBezTo>
                    <a:pt x="14" y="90"/>
                    <a:pt x="0" y="75"/>
                    <a:pt x="0" y="45"/>
                  </a:cubicBezTo>
                  <a:cubicBezTo>
                    <a:pt x="0" y="15"/>
                    <a:pt x="14" y="0"/>
                    <a:pt x="41" y="0"/>
                  </a:cubicBezTo>
                  <a:cubicBezTo>
                    <a:pt x="69" y="0"/>
                    <a:pt x="83" y="15"/>
                    <a:pt x="83" y="45"/>
                  </a:cubicBezTo>
                  <a:cubicBezTo>
                    <a:pt x="83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">
              <a:extLst>
                <a:ext uri="{FF2B5EF4-FFF2-40B4-BE49-F238E27FC236}">
                  <a16:creationId xmlns:a16="http://schemas.microsoft.com/office/drawing/2014/main" id="{DBB7407B-B6B3-4D3A-8CC6-0639CDD8D1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7" y="2990"/>
              <a:ext cx="173" cy="215"/>
            </a:xfrm>
            <a:custGeom>
              <a:avLst/>
              <a:gdLst>
                <a:gd name="T0" fmla="*/ 182 w 327"/>
                <a:gd name="T1" fmla="*/ 404 h 407"/>
                <a:gd name="T2" fmla="*/ 47 w 327"/>
                <a:gd name="T3" fmla="*/ 353 h 407"/>
                <a:gd name="T4" fmla="*/ 0 w 327"/>
                <a:gd name="T5" fmla="*/ 200 h 407"/>
                <a:gd name="T6" fmla="*/ 43 w 327"/>
                <a:gd name="T7" fmla="*/ 52 h 407"/>
                <a:gd name="T8" fmla="*/ 170 w 327"/>
                <a:gd name="T9" fmla="*/ 0 h 407"/>
                <a:gd name="T10" fmla="*/ 287 w 327"/>
                <a:gd name="T11" fmla="*/ 44 h 407"/>
                <a:gd name="T12" fmla="*/ 327 w 327"/>
                <a:gd name="T13" fmla="*/ 175 h 407"/>
                <a:gd name="T14" fmla="*/ 327 w 327"/>
                <a:gd name="T15" fmla="*/ 226 h 407"/>
                <a:gd name="T16" fmla="*/ 68 w 327"/>
                <a:gd name="T17" fmla="*/ 226 h 407"/>
                <a:gd name="T18" fmla="*/ 100 w 327"/>
                <a:gd name="T19" fmla="*/ 313 h 407"/>
                <a:gd name="T20" fmla="*/ 191 w 327"/>
                <a:gd name="T21" fmla="*/ 347 h 407"/>
                <a:gd name="T22" fmla="*/ 248 w 327"/>
                <a:gd name="T23" fmla="*/ 338 h 407"/>
                <a:gd name="T24" fmla="*/ 295 w 327"/>
                <a:gd name="T25" fmla="*/ 314 h 407"/>
                <a:gd name="T26" fmla="*/ 322 w 327"/>
                <a:gd name="T27" fmla="*/ 361 h 407"/>
                <a:gd name="T28" fmla="*/ 182 w 327"/>
                <a:gd name="T29" fmla="*/ 404 h 407"/>
                <a:gd name="T30" fmla="*/ 169 w 327"/>
                <a:gd name="T31" fmla="*/ 56 h 407"/>
                <a:gd name="T32" fmla="*/ 94 w 327"/>
                <a:gd name="T33" fmla="*/ 90 h 407"/>
                <a:gd name="T34" fmla="*/ 68 w 327"/>
                <a:gd name="T35" fmla="*/ 172 h 407"/>
                <a:gd name="T36" fmla="*/ 260 w 327"/>
                <a:gd name="T37" fmla="*/ 172 h 407"/>
                <a:gd name="T38" fmla="*/ 251 w 327"/>
                <a:gd name="T39" fmla="*/ 114 h 407"/>
                <a:gd name="T40" fmla="*/ 223 w 327"/>
                <a:gd name="T41" fmla="*/ 72 h 407"/>
                <a:gd name="T42" fmla="*/ 169 w 327"/>
                <a:gd name="T43" fmla="*/ 56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7" h="407">
                  <a:moveTo>
                    <a:pt x="182" y="404"/>
                  </a:moveTo>
                  <a:cubicBezTo>
                    <a:pt x="124" y="404"/>
                    <a:pt x="79" y="387"/>
                    <a:pt x="47" y="353"/>
                  </a:cubicBezTo>
                  <a:cubicBezTo>
                    <a:pt x="16" y="319"/>
                    <a:pt x="0" y="268"/>
                    <a:pt x="0" y="200"/>
                  </a:cubicBezTo>
                  <a:cubicBezTo>
                    <a:pt x="0" y="136"/>
                    <a:pt x="14" y="87"/>
                    <a:pt x="43" y="52"/>
                  </a:cubicBezTo>
                  <a:cubicBezTo>
                    <a:pt x="72" y="18"/>
                    <a:pt x="115" y="0"/>
                    <a:pt x="170" y="0"/>
                  </a:cubicBezTo>
                  <a:cubicBezTo>
                    <a:pt x="221" y="0"/>
                    <a:pt x="260" y="15"/>
                    <a:pt x="287" y="44"/>
                  </a:cubicBezTo>
                  <a:cubicBezTo>
                    <a:pt x="314" y="73"/>
                    <a:pt x="327" y="117"/>
                    <a:pt x="327" y="175"/>
                  </a:cubicBezTo>
                  <a:cubicBezTo>
                    <a:pt x="327" y="226"/>
                    <a:pt x="327" y="226"/>
                    <a:pt x="327" y="226"/>
                  </a:cubicBezTo>
                  <a:cubicBezTo>
                    <a:pt x="68" y="226"/>
                    <a:pt x="68" y="226"/>
                    <a:pt x="68" y="226"/>
                  </a:cubicBezTo>
                  <a:cubicBezTo>
                    <a:pt x="70" y="257"/>
                    <a:pt x="81" y="288"/>
                    <a:pt x="100" y="313"/>
                  </a:cubicBezTo>
                  <a:cubicBezTo>
                    <a:pt x="118" y="336"/>
                    <a:pt x="149" y="348"/>
                    <a:pt x="191" y="347"/>
                  </a:cubicBezTo>
                  <a:cubicBezTo>
                    <a:pt x="211" y="348"/>
                    <a:pt x="230" y="345"/>
                    <a:pt x="248" y="338"/>
                  </a:cubicBezTo>
                  <a:cubicBezTo>
                    <a:pt x="265" y="332"/>
                    <a:pt x="281" y="324"/>
                    <a:pt x="295" y="314"/>
                  </a:cubicBezTo>
                  <a:cubicBezTo>
                    <a:pt x="322" y="361"/>
                    <a:pt x="322" y="361"/>
                    <a:pt x="322" y="361"/>
                  </a:cubicBezTo>
                  <a:cubicBezTo>
                    <a:pt x="282" y="391"/>
                    <a:pt x="233" y="407"/>
                    <a:pt x="182" y="404"/>
                  </a:cubicBezTo>
                  <a:close/>
                  <a:moveTo>
                    <a:pt x="169" y="56"/>
                  </a:moveTo>
                  <a:cubicBezTo>
                    <a:pt x="135" y="56"/>
                    <a:pt x="109" y="67"/>
                    <a:pt x="94" y="90"/>
                  </a:cubicBezTo>
                  <a:cubicBezTo>
                    <a:pt x="78" y="114"/>
                    <a:pt x="69" y="143"/>
                    <a:pt x="68" y="172"/>
                  </a:cubicBezTo>
                  <a:cubicBezTo>
                    <a:pt x="260" y="172"/>
                    <a:pt x="260" y="172"/>
                    <a:pt x="260" y="172"/>
                  </a:cubicBezTo>
                  <a:cubicBezTo>
                    <a:pt x="260" y="152"/>
                    <a:pt x="257" y="133"/>
                    <a:pt x="251" y="114"/>
                  </a:cubicBezTo>
                  <a:cubicBezTo>
                    <a:pt x="246" y="97"/>
                    <a:pt x="236" y="83"/>
                    <a:pt x="223" y="72"/>
                  </a:cubicBezTo>
                  <a:cubicBezTo>
                    <a:pt x="207" y="61"/>
                    <a:pt x="188" y="55"/>
                    <a:pt x="169" y="5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30">
              <a:extLst>
                <a:ext uri="{FF2B5EF4-FFF2-40B4-BE49-F238E27FC236}">
                  <a16:creationId xmlns:a16="http://schemas.microsoft.com/office/drawing/2014/main" id="{6D0D79E1-FE17-4D7D-A564-5C018AC5F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2990"/>
              <a:ext cx="128" cy="208"/>
            </a:xfrm>
            <a:custGeom>
              <a:avLst/>
              <a:gdLst>
                <a:gd name="T0" fmla="*/ 10 w 243"/>
                <a:gd name="T1" fmla="*/ 392 h 392"/>
                <a:gd name="T2" fmla="*/ 10 w 243"/>
                <a:gd name="T3" fmla="*/ 94 h 392"/>
                <a:gd name="T4" fmla="*/ 0 w 243"/>
                <a:gd name="T5" fmla="*/ 17 h 392"/>
                <a:gd name="T6" fmla="*/ 59 w 243"/>
                <a:gd name="T7" fmla="*/ 7 h 392"/>
                <a:gd name="T8" fmla="*/ 73 w 243"/>
                <a:gd name="T9" fmla="*/ 71 h 392"/>
                <a:gd name="T10" fmla="*/ 116 w 243"/>
                <a:gd name="T11" fmla="*/ 19 h 392"/>
                <a:gd name="T12" fmla="*/ 183 w 243"/>
                <a:gd name="T13" fmla="*/ 1 h 392"/>
                <a:gd name="T14" fmla="*/ 214 w 243"/>
                <a:gd name="T15" fmla="*/ 4 h 392"/>
                <a:gd name="T16" fmla="*/ 243 w 243"/>
                <a:gd name="T17" fmla="*/ 16 h 392"/>
                <a:gd name="T18" fmla="*/ 224 w 243"/>
                <a:gd name="T19" fmla="*/ 75 h 392"/>
                <a:gd name="T20" fmla="*/ 195 w 243"/>
                <a:gd name="T21" fmla="*/ 65 h 392"/>
                <a:gd name="T22" fmla="*/ 168 w 243"/>
                <a:gd name="T23" fmla="*/ 63 h 392"/>
                <a:gd name="T24" fmla="*/ 101 w 243"/>
                <a:gd name="T25" fmla="*/ 93 h 392"/>
                <a:gd name="T26" fmla="*/ 78 w 243"/>
                <a:gd name="T27" fmla="*/ 170 h 392"/>
                <a:gd name="T28" fmla="*/ 78 w 243"/>
                <a:gd name="T29" fmla="*/ 392 h 392"/>
                <a:gd name="T30" fmla="*/ 10 w 243"/>
                <a:gd name="T3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3" h="392">
                  <a:moveTo>
                    <a:pt x="10" y="392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82" y="50"/>
                    <a:pt x="97" y="32"/>
                    <a:pt x="116" y="19"/>
                  </a:cubicBezTo>
                  <a:cubicBezTo>
                    <a:pt x="136" y="6"/>
                    <a:pt x="160" y="0"/>
                    <a:pt x="183" y="1"/>
                  </a:cubicBezTo>
                  <a:cubicBezTo>
                    <a:pt x="194" y="1"/>
                    <a:pt x="204" y="2"/>
                    <a:pt x="214" y="4"/>
                  </a:cubicBezTo>
                  <a:cubicBezTo>
                    <a:pt x="224" y="7"/>
                    <a:pt x="234" y="11"/>
                    <a:pt x="243" y="1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15" y="71"/>
                    <a:pt x="205" y="67"/>
                    <a:pt x="195" y="65"/>
                  </a:cubicBezTo>
                  <a:cubicBezTo>
                    <a:pt x="186" y="64"/>
                    <a:pt x="177" y="63"/>
                    <a:pt x="168" y="63"/>
                  </a:cubicBezTo>
                  <a:cubicBezTo>
                    <a:pt x="142" y="61"/>
                    <a:pt x="117" y="73"/>
                    <a:pt x="101" y="93"/>
                  </a:cubicBezTo>
                  <a:cubicBezTo>
                    <a:pt x="85" y="116"/>
                    <a:pt x="77" y="142"/>
                    <a:pt x="78" y="170"/>
                  </a:cubicBezTo>
                  <a:cubicBezTo>
                    <a:pt x="78" y="392"/>
                    <a:pt x="78" y="392"/>
                    <a:pt x="78" y="392"/>
                  </a:cubicBezTo>
                  <a:lnTo>
                    <a:pt x="10" y="392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31">
              <a:extLst>
                <a:ext uri="{FF2B5EF4-FFF2-40B4-BE49-F238E27FC236}">
                  <a16:creationId xmlns:a16="http://schemas.microsoft.com/office/drawing/2014/main" id="{DBC43D2A-5C89-4313-AF47-4E053BFE3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5" y="2903"/>
              <a:ext cx="243" cy="295"/>
            </a:xfrm>
            <a:custGeom>
              <a:avLst/>
              <a:gdLst>
                <a:gd name="T0" fmla="*/ 0 w 459"/>
                <a:gd name="T1" fmla="*/ 558 h 558"/>
                <a:gd name="T2" fmla="*/ 76 w 459"/>
                <a:gd name="T3" fmla="*/ 279 h 558"/>
                <a:gd name="T4" fmla="*/ 192 w 459"/>
                <a:gd name="T5" fmla="*/ 0 h 558"/>
                <a:gd name="T6" fmla="*/ 268 w 459"/>
                <a:gd name="T7" fmla="*/ 0 h 558"/>
                <a:gd name="T8" fmla="*/ 384 w 459"/>
                <a:gd name="T9" fmla="*/ 283 h 558"/>
                <a:gd name="T10" fmla="*/ 459 w 459"/>
                <a:gd name="T11" fmla="*/ 558 h 558"/>
                <a:gd name="T12" fmla="*/ 385 w 459"/>
                <a:gd name="T13" fmla="*/ 558 h 558"/>
                <a:gd name="T14" fmla="*/ 350 w 459"/>
                <a:gd name="T15" fmla="*/ 408 h 558"/>
                <a:gd name="T16" fmla="*/ 107 w 459"/>
                <a:gd name="T17" fmla="*/ 408 h 558"/>
                <a:gd name="T18" fmla="*/ 71 w 459"/>
                <a:gd name="T19" fmla="*/ 558 h 558"/>
                <a:gd name="T20" fmla="*/ 0 w 459"/>
                <a:gd name="T21" fmla="*/ 558 h 558"/>
                <a:gd name="T22" fmla="*/ 124 w 459"/>
                <a:gd name="T23" fmla="*/ 348 h 558"/>
                <a:gd name="T24" fmla="*/ 333 w 459"/>
                <a:gd name="T25" fmla="*/ 348 h 558"/>
                <a:gd name="T26" fmla="*/ 286 w 459"/>
                <a:gd name="T27" fmla="*/ 208 h 558"/>
                <a:gd name="T28" fmla="*/ 228 w 459"/>
                <a:gd name="T29" fmla="*/ 65 h 558"/>
                <a:gd name="T30" fmla="*/ 170 w 459"/>
                <a:gd name="T31" fmla="*/ 208 h 558"/>
                <a:gd name="T32" fmla="*/ 124 w 459"/>
                <a:gd name="T33" fmla="*/ 34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558">
                  <a:moveTo>
                    <a:pt x="0" y="558"/>
                  </a:moveTo>
                  <a:cubicBezTo>
                    <a:pt x="20" y="464"/>
                    <a:pt x="46" y="371"/>
                    <a:pt x="76" y="279"/>
                  </a:cubicBezTo>
                  <a:cubicBezTo>
                    <a:pt x="109" y="183"/>
                    <a:pt x="148" y="90"/>
                    <a:pt x="192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12" y="92"/>
                    <a:pt x="351" y="186"/>
                    <a:pt x="384" y="283"/>
                  </a:cubicBezTo>
                  <a:cubicBezTo>
                    <a:pt x="414" y="373"/>
                    <a:pt x="439" y="465"/>
                    <a:pt x="459" y="558"/>
                  </a:cubicBezTo>
                  <a:cubicBezTo>
                    <a:pt x="385" y="558"/>
                    <a:pt x="385" y="558"/>
                    <a:pt x="385" y="558"/>
                  </a:cubicBezTo>
                  <a:cubicBezTo>
                    <a:pt x="375" y="506"/>
                    <a:pt x="363" y="456"/>
                    <a:pt x="350" y="408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94" y="456"/>
                    <a:pt x="82" y="506"/>
                    <a:pt x="71" y="558"/>
                  </a:cubicBezTo>
                  <a:lnTo>
                    <a:pt x="0" y="558"/>
                  </a:lnTo>
                  <a:close/>
                  <a:moveTo>
                    <a:pt x="124" y="348"/>
                  </a:moveTo>
                  <a:cubicBezTo>
                    <a:pt x="333" y="348"/>
                    <a:pt x="333" y="348"/>
                    <a:pt x="333" y="348"/>
                  </a:cubicBezTo>
                  <a:cubicBezTo>
                    <a:pt x="319" y="301"/>
                    <a:pt x="303" y="254"/>
                    <a:pt x="286" y="208"/>
                  </a:cubicBezTo>
                  <a:cubicBezTo>
                    <a:pt x="268" y="161"/>
                    <a:pt x="249" y="114"/>
                    <a:pt x="228" y="65"/>
                  </a:cubicBezTo>
                  <a:cubicBezTo>
                    <a:pt x="207" y="114"/>
                    <a:pt x="188" y="161"/>
                    <a:pt x="170" y="208"/>
                  </a:cubicBezTo>
                  <a:cubicBezTo>
                    <a:pt x="153" y="254"/>
                    <a:pt x="138" y="301"/>
                    <a:pt x="124" y="348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32">
              <a:extLst>
                <a:ext uri="{FF2B5EF4-FFF2-40B4-BE49-F238E27FC236}">
                  <a16:creationId xmlns:a16="http://schemas.microsoft.com/office/drawing/2014/main" id="{B794C634-FB8D-43CE-A3ED-18920E0E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2990"/>
              <a:ext cx="176" cy="208"/>
            </a:xfrm>
            <a:custGeom>
              <a:avLst/>
              <a:gdLst>
                <a:gd name="T0" fmla="*/ 9 w 332"/>
                <a:gd name="T1" fmla="*/ 393 h 393"/>
                <a:gd name="T2" fmla="*/ 9 w 332"/>
                <a:gd name="T3" fmla="*/ 95 h 393"/>
                <a:gd name="T4" fmla="*/ 0 w 332"/>
                <a:gd name="T5" fmla="*/ 18 h 393"/>
                <a:gd name="T6" fmla="*/ 59 w 332"/>
                <a:gd name="T7" fmla="*/ 8 h 393"/>
                <a:gd name="T8" fmla="*/ 71 w 332"/>
                <a:gd name="T9" fmla="*/ 67 h 393"/>
                <a:gd name="T10" fmla="*/ 195 w 332"/>
                <a:gd name="T11" fmla="*/ 0 h 393"/>
                <a:gd name="T12" fmla="*/ 297 w 332"/>
                <a:gd name="T13" fmla="*/ 39 h 393"/>
                <a:gd name="T14" fmla="*/ 332 w 332"/>
                <a:gd name="T15" fmla="*/ 152 h 393"/>
                <a:gd name="T16" fmla="*/ 332 w 332"/>
                <a:gd name="T17" fmla="*/ 393 h 393"/>
                <a:gd name="T18" fmla="*/ 264 w 332"/>
                <a:gd name="T19" fmla="*/ 393 h 393"/>
                <a:gd name="T20" fmla="*/ 264 w 332"/>
                <a:gd name="T21" fmla="*/ 160 h 393"/>
                <a:gd name="T22" fmla="*/ 243 w 332"/>
                <a:gd name="T23" fmla="*/ 84 h 393"/>
                <a:gd name="T24" fmla="*/ 178 w 332"/>
                <a:gd name="T25" fmla="*/ 59 h 393"/>
                <a:gd name="T26" fmla="*/ 77 w 332"/>
                <a:gd name="T27" fmla="*/ 145 h 393"/>
                <a:gd name="T28" fmla="*/ 77 w 332"/>
                <a:gd name="T29" fmla="*/ 160 h 393"/>
                <a:gd name="T30" fmla="*/ 77 w 332"/>
                <a:gd name="T31" fmla="*/ 393 h 393"/>
                <a:gd name="T32" fmla="*/ 9 w 332"/>
                <a:gd name="T33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2" h="393">
                  <a:moveTo>
                    <a:pt x="9" y="393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93" y="22"/>
                    <a:pt x="135" y="0"/>
                    <a:pt x="195" y="0"/>
                  </a:cubicBezTo>
                  <a:cubicBezTo>
                    <a:pt x="240" y="0"/>
                    <a:pt x="274" y="13"/>
                    <a:pt x="297" y="39"/>
                  </a:cubicBezTo>
                  <a:cubicBezTo>
                    <a:pt x="320" y="65"/>
                    <a:pt x="332" y="102"/>
                    <a:pt x="332" y="152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4" y="125"/>
                    <a:pt x="257" y="100"/>
                    <a:pt x="243" y="84"/>
                  </a:cubicBezTo>
                  <a:cubicBezTo>
                    <a:pt x="227" y="66"/>
                    <a:pt x="203" y="57"/>
                    <a:pt x="178" y="59"/>
                  </a:cubicBezTo>
                  <a:cubicBezTo>
                    <a:pt x="127" y="55"/>
                    <a:pt x="82" y="93"/>
                    <a:pt x="77" y="145"/>
                  </a:cubicBezTo>
                  <a:cubicBezTo>
                    <a:pt x="77" y="150"/>
                    <a:pt x="77" y="155"/>
                    <a:pt x="77" y="160"/>
                  </a:cubicBezTo>
                  <a:cubicBezTo>
                    <a:pt x="77" y="393"/>
                    <a:pt x="77" y="393"/>
                    <a:pt x="77" y="393"/>
                  </a:cubicBezTo>
                  <a:lnTo>
                    <a:pt x="9" y="393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33">
              <a:extLst>
                <a:ext uri="{FF2B5EF4-FFF2-40B4-BE49-F238E27FC236}">
                  <a16:creationId xmlns:a16="http://schemas.microsoft.com/office/drawing/2014/main" id="{56DFB060-B9E0-4AEE-B50D-A979F93FC3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" y="2910"/>
              <a:ext cx="43" cy="288"/>
            </a:xfrm>
            <a:custGeom>
              <a:avLst/>
              <a:gdLst>
                <a:gd name="T0" fmla="*/ 41 w 82"/>
                <a:gd name="T1" fmla="*/ 90 h 544"/>
                <a:gd name="T2" fmla="*/ 0 w 82"/>
                <a:gd name="T3" fmla="*/ 45 h 544"/>
                <a:gd name="T4" fmla="*/ 41 w 82"/>
                <a:gd name="T5" fmla="*/ 0 h 544"/>
                <a:gd name="T6" fmla="*/ 82 w 82"/>
                <a:gd name="T7" fmla="*/ 45 h 544"/>
                <a:gd name="T8" fmla="*/ 41 w 82"/>
                <a:gd name="T9" fmla="*/ 90 h 544"/>
                <a:gd name="T10" fmla="*/ 7 w 82"/>
                <a:gd name="T11" fmla="*/ 544 h 544"/>
                <a:gd name="T12" fmla="*/ 7 w 82"/>
                <a:gd name="T13" fmla="*/ 162 h 544"/>
                <a:gd name="T14" fmla="*/ 75 w 82"/>
                <a:gd name="T15" fmla="*/ 162 h 544"/>
                <a:gd name="T16" fmla="*/ 75 w 82"/>
                <a:gd name="T17" fmla="*/ 544 h 544"/>
                <a:gd name="T18" fmla="*/ 7 w 82"/>
                <a:gd name="T1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44">
                  <a:moveTo>
                    <a:pt x="41" y="90"/>
                  </a:moveTo>
                  <a:cubicBezTo>
                    <a:pt x="13" y="90"/>
                    <a:pt x="0" y="75"/>
                    <a:pt x="0" y="45"/>
                  </a:cubicBezTo>
                  <a:cubicBezTo>
                    <a:pt x="0" y="15"/>
                    <a:pt x="13" y="0"/>
                    <a:pt x="41" y="0"/>
                  </a:cubicBezTo>
                  <a:cubicBezTo>
                    <a:pt x="69" y="0"/>
                    <a:pt x="82" y="15"/>
                    <a:pt x="82" y="45"/>
                  </a:cubicBezTo>
                  <a:cubicBezTo>
                    <a:pt x="82" y="75"/>
                    <a:pt x="69" y="90"/>
                    <a:pt x="41" y="90"/>
                  </a:cubicBezTo>
                  <a:close/>
                  <a:moveTo>
                    <a:pt x="7" y="544"/>
                  </a:moveTo>
                  <a:cubicBezTo>
                    <a:pt x="7" y="162"/>
                    <a:pt x="7" y="162"/>
                    <a:pt x="7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544"/>
                    <a:pt x="75" y="544"/>
                    <a:pt x="75" y="544"/>
                  </a:cubicBezTo>
                  <a:lnTo>
                    <a:pt x="7" y="544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34">
              <a:extLst>
                <a:ext uri="{FF2B5EF4-FFF2-40B4-BE49-F238E27FC236}">
                  <a16:creationId xmlns:a16="http://schemas.microsoft.com/office/drawing/2014/main" id="{D441A4C0-C098-4FC6-9BDD-AB133A949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2989"/>
              <a:ext cx="298" cy="209"/>
            </a:xfrm>
            <a:custGeom>
              <a:avLst/>
              <a:gdLst>
                <a:gd name="T0" fmla="*/ 10 w 563"/>
                <a:gd name="T1" fmla="*/ 395 h 395"/>
                <a:gd name="T2" fmla="*/ 10 w 563"/>
                <a:gd name="T3" fmla="*/ 97 h 395"/>
                <a:gd name="T4" fmla="*/ 0 w 563"/>
                <a:gd name="T5" fmla="*/ 20 h 395"/>
                <a:gd name="T6" fmla="*/ 59 w 563"/>
                <a:gd name="T7" fmla="*/ 10 h 395"/>
                <a:gd name="T8" fmla="*/ 72 w 563"/>
                <a:gd name="T9" fmla="*/ 69 h 395"/>
                <a:gd name="T10" fmla="*/ 189 w 563"/>
                <a:gd name="T11" fmla="*/ 2 h 395"/>
                <a:gd name="T12" fmla="*/ 262 w 563"/>
                <a:gd name="T13" fmla="*/ 21 h 395"/>
                <a:gd name="T14" fmla="*/ 307 w 563"/>
                <a:gd name="T15" fmla="*/ 78 h 395"/>
                <a:gd name="T16" fmla="*/ 352 w 563"/>
                <a:gd name="T17" fmla="*/ 22 h 395"/>
                <a:gd name="T18" fmla="*/ 427 w 563"/>
                <a:gd name="T19" fmla="*/ 2 h 395"/>
                <a:gd name="T20" fmla="*/ 527 w 563"/>
                <a:gd name="T21" fmla="*/ 40 h 395"/>
                <a:gd name="T22" fmla="*/ 563 w 563"/>
                <a:gd name="T23" fmla="*/ 152 h 395"/>
                <a:gd name="T24" fmla="*/ 563 w 563"/>
                <a:gd name="T25" fmla="*/ 395 h 395"/>
                <a:gd name="T26" fmla="*/ 495 w 563"/>
                <a:gd name="T27" fmla="*/ 395 h 395"/>
                <a:gd name="T28" fmla="*/ 495 w 563"/>
                <a:gd name="T29" fmla="*/ 157 h 395"/>
                <a:gd name="T30" fmla="*/ 473 w 563"/>
                <a:gd name="T31" fmla="*/ 84 h 395"/>
                <a:gd name="T32" fmla="*/ 413 w 563"/>
                <a:gd name="T33" fmla="*/ 61 h 395"/>
                <a:gd name="T34" fmla="*/ 345 w 563"/>
                <a:gd name="T35" fmla="*/ 89 h 395"/>
                <a:gd name="T36" fmla="*/ 320 w 563"/>
                <a:gd name="T37" fmla="*/ 169 h 395"/>
                <a:gd name="T38" fmla="*/ 320 w 563"/>
                <a:gd name="T39" fmla="*/ 395 h 395"/>
                <a:gd name="T40" fmla="*/ 252 w 563"/>
                <a:gd name="T41" fmla="*/ 395 h 395"/>
                <a:gd name="T42" fmla="*/ 252 w 563"/>
                <a:gd name="T43" fmla="*/ 157 h 395"/>
                <a:gd name="T44" fmla="*/ 230 w 563"/>
                <a:gd name="T45" fmla="*/ 84 h 395"/>
                <a:gd name="T46" fmla="*/ 168 w 563"/>
                <a:gd name="T47" fmla="*/ 61 h 395"/>
                <a:gd name="T48" fmla="*/ 100 w 563"/>
                <a:gd name="T49" fmla="*/ 87 h 395"/>
                <a:gd name="T50" fmla="*/ 78 w 563"/>
                <a:gd name="T51" fmla="*/ 156 h 395"/>
                <a:gd name="T52" fmla="*/ 78 w 563"/>
                <a:gd name="T53" fmla="*/ 395 h 395"/>
                <a:gd name="T54" fmla="*/ 10 w 563"/>
                <a:gd name="T5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3" h="395">
                  <a:moveTo>
                    <a:pt x="10" y="395"/>
                  </a:moveTo>
                  <a:cubicBezTo>
                    <a:pt x="10" y="97"/>
                    <a:pt x="10" y="97"/>
                    <a:pt x="1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94" y="24"/>
                    <a:pt x="133" y="2"/>
                    <a:pt x="189" y="2"/>
                  </a:cubicBezTo>
                  <a:cubicBezTo>
                    <a:pt x="215" y="1"/>
                    <a:pt x="240" y="8"/>
                    <a:pt x="262" y="21"/>
                  </a:cubicBezTo>
                  <a:cubicBezTo>
                    <a:pt x="283" y="34"/>
                    <a:pt x="299" y="54"/>
                    <a:pt x="307" y="78"/>
                  </a:cubicBezTo>
                  <a:cubicBezTo>
                    <a:pt x="316" y="55"/>
                    <a:pt x="331" y="35"/>
                    <a:pt x="352" y="22"/>
                  </a:cubicBezTo>
                  <a:cubicBezTo>
                    <a:pt x="375" y="8"/>
                    <a:pt x="401" y="1"/>
                    <a:pt x="427" y="2"/>
                  </a:cubicBezTo>
                  <a:cubicBezTo>
                    <a:pt x="464" y="0"/>
                    <a:pt x="501" y="14"/>
                    <a:pt x="527" y="40"/>
                  </a:cubicBezTo>
                  <a:cubicBezTo>
                    <a:pt x="551" y="66"/>
                    <a:pt x="563" y="103"/>
                    <a:pt x="563" y="152"/>
                  </a:cubicBezTo>
                  <a:cubicBezTo>
                    <a:pt x="563" y="395"/>
                    <a:pt x="563" y="395"/>
                    <a:pt x="563" y="395"/>
                  </a:cubicBezTo>
                  <a:cubicBezTo>
                    <a:pt x="495" y="395"/>
                    <a:pt x="495" y="395"/>
                    <a:pt x="495" y="395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124"/>
                    <a:pt x="487" y="99"/>
                    <a:pt x="473" y="84"/>
                  </a:cubicBezTo>
                  <a:cubicBezTo>
                    <a:pt x="457" y="68"/>
                    <a:pt x="435" y="60"/>
                    <a:pt x="413" y="61"/>
                  </a:cubicBezTo>
                  <a:cubicBezTo>
                    <a:pt x="387" y="60"/>
                    <a:pt x="362" y="70"/>
                    <a:pt x="345" y="89"/>
                  </a:cubicBezTo>
                  <a:cubicBezTo>
                    <a:pt x="327" y="112"/>
                    <a:pt x="318" y="140"/>
                    <a:pt x="320" y="169"/>
                  </a:cubicBezTo>
                  <a:cubicBezTo>
                    <a:pt x="320" y="395"/>
                    <a:pt x="320" y="395"/>
                    <a:pt x="320" y="395"/>
                  </a:cubicBezTo>
                  <a:cubicBezTo>
                    <a:pt x="252" y="395"/>
                    <a:pt x="252" y="395"/>
                    <a:pt x="252" y="395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23"/>
                    <a:pt x="245" y="99"/>
                    <a:pt x="230" y="84"/>
                  </a:cubicBezTo>
                  <a:cubicBezTo>
                    <a:pt x="213" y="68"/>
                    <a:pt x="191" y="60"/>
                    <a:pt x="168" y="61"/>
                  </a:cubicBezTo>
                  <a:cubicBezTo>
                    <a:pt x="143" y="59"/>
                    <a:pt x="118" y="69"/>
                    <a:pt x="100" y="87"/>
                  </a:cubicBezTo>
                  <a:cubicBezTo>
                    <a:pt x="85" y="106"/>
                    <a:pt x="77" y="131"/>
                    <a:pt x="78" y="156"/>
                  </a:cubicBezTo>
                  <a:cubicBezTo>
                    <a:pt x="78" y="395"/>
                    <a:pt x="78" y="395"/>
                    <a:pt x="78" y="395"/>
                  </a:cubicBezTo>
                  <a:lnTo>
                    <a:pt x="10" y="395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35">
              <a:extLst>
                <a:ext uri="{FF2B5EF4-FFF2-40B4-BE49-F238E27FC236}">
                  <a16:creationId xmlns:a16="http://schemas.microsoft.com/office/drawing/2014/main" id="{41B0435D-68D4-4B11-86E0-BBD66D476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" y="2989"/>
              <a:ext cx="167" cy="214"/>
            </a:xfrm>
            <a:custGeom>
              <a:avLst/>
              <a:gdLst>
                <a:gd name="T0" fmla="*/ 122 w 317"/>
                <a:gd name="T1" fmla="*/ 403 h 405"/>
                <a:gd name="T2" fmla="*/ 35 w 317"/>
                <a:gd name="T3" fmla="*/ 371 h 405"/>
                <a:gd name="T4" fmla="*/ 2 w 317"/>
                <a:gd name="T5" fmla="*/ 288 h 405"/>
                <a:gd name="T6" fmla="*/ 63 w 317"/>
                <a:gd name="T7" fmla="*/ 178 h 405"/>
                <a:gd name="T8" fmla="*/ 240 w 317"/>
                <a:gd name="T9" fmla="*/ 137 h 405"/>
                <a:gd name="T10" fmla="*/ 218 w 317"/>
                <a:gd name="T11" fmla="*/ 77 h 405"/>
                <a:gd name="T12" fmla="*/ 152 w 317"/>
                <a:gd name="T13" fmla="*/ 57 h 405"/>
                <a:gd name="T14" fmla="*/ 48 w 317"/>
                <a:gd name="T15" fmla="*/ 88 h 405"/>
                <a:gd name="T16" fmla="*/ 25 w 317"/>
                <a:gd name="T17" fmla="*/ 43 h 405"/>
                <a:gd name="T18" fmla="*/ 163 w 317"/>
                <a:gd name="T19" fmla="*/ 1 h 405"/>
                <a:gd name="T20" fmla="*/ 308 w 317"/>
                <a:gd name="T21" fmla="*/ 145 h 405"/>
                <a:gd name="T22" fmla="*/ 308 w 317"/>
                <a:gd name="T23" fmla="*/ 308 h 405"/>
                <a:gd name="T24" fmla="*/ 317 w 317"/>
                <a:gd name="T25" fmla="*/ 388 h 405"/>
                <a:gd name="T26" fmla="*/ 259 w 317"/>
                <a:gd name="T27" fmla="*/ 397 h 405"/>
                <a:gd name="T28" fmla="*/ 246 w 317"/>
                <a:gd name="T29" fmla="*/ 337 h 405"/>
                <a:gd name="T30" fmla="*/ 196 w 317"/>
                <a:gd name="T31" fmla="*/ 386 h 405"/>
                <a:gd name="T32" fmla="*/ 122 w 317"/>
                <a:gd name="T33" fmla="*/ 403 h 405"/>
                <a:gd name="T34" fmla="*/ 70 w 317"/>
                <a:gd name="T35" fmla="*/ 283 h 405"/>
                <a:gd name="T36" fmla="*/ 89 w 317"/>
                <a:gd name="T37" fmla="*/ 330 h 405"/>
                <a:gd name="T38" fmla="*/ 141 w 317"/>
                <a:gd name="T39" fmla="*/ 348 h 405"/>
                <a:gd name="T40" fmla="*/ 213 w 317"/>
                <a:gd name="T41" fmla="*/ 321 h 405"/>
                <a:gd name="T42" fmla="*/ 241 w 317"/>
                <a:gd name="T43" fmla="*/ 252 h 405"/>
                <a:gd name="T44" fmla="*/ 241 w 317"/>
                <a:gd name="T45" fmla="*/ 186 h 405"/>
                <a:gd name="T46" fmla="*/ 114 w 317"/>
                <a:gd name="T47" fmla="*/ 213 h 405"/>
                <a:gd name="T48" fmla="*/ 70 w 317"/>
                <a:gd name="T49" fmla="*/ 28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405">
                  <a:moveTo>
                    <a:pt x="122" y="403"/>
                  </a:moveTo>
                  <a:cubicBezTo>
                    <a:pt x="90" y="405"/>
                    <a:pt x="58" y="393"/>
                    <a:pt x="35" y="371"/>
                  </a:cubicBezTo>
                  <a:cubicBezTo>
                    <a:pt x="12" y="349"/>
                    <a:pt x="0" y="319"/>
                    <a:pt x="2" y="288"/>
                  </a:cubicBezTo>
                  <a:cubicBezTo>
                    <a:pt x="0" y="243"/>
                    <a:pt x="24" y="201"/>
                    <a:pt x="63" y="178"/>
                  </a:cubicBezTo>
                  <a:cubicBezTo>
                    <a:pt x="104" y="152"/>
                    <a:pt x="163" y="139"/>
                    <a:pt x="240" y="137"/>
                  </a:cubicBezTo>
                  <a:cubicBezTo>
                    <a:pt x="240" y="115"/>
                    <a:pt x="232" y="94"/>
                    <a:pt x="218" y="77"/>
                  </a:cubicBezTo>
                  <a:cubicBezTo>
                    <a:pt x="204" y="64"/>
                    <a:pt x="183" y="57"/>
                    <a:pt x="152" y="57"/>
                  </a:cubicBezTo>
                  <a:cubicBezTo>
                    <a:pt x="115" y="57"/>
                    <a:pt x="79" y="68"/>
                    <a:pt x="48" y="88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65" y="14"/>
                    <a:pt x="113" y="0"/>
                    <a:pt x="163" y="1"/>
                  </a:cubicBezTo>
                  <a:cubicBezTo>
                    <a:pt x="259" y="1"/>
                    <a:pt x="308" y="49"/>
                    <a:pt x="308" y="14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259" y="397"/>
                    <a:pt x="259" y="397"/>
                    <a:pt x="259" y="397"/>
                  </a:cubicBezTo>
                  <a:cubicBezTo>
                    <a:pt x="246" y="337"/>
                    <a:pt x="246" y="337"/>
                    <a:pt x="246" y="337"/>
                  </a:cubicBezTo>
                  <a:cubicBezTo>
                    <a:pt x="235" y="358"/>
                    <a:pt x="217" y="375"/>
                    <a:pt x="196" y="386"/>
                  </a:cubicBezTo>
                  <a:cubicBezTo>
                    <a:pt x="174" y="398"/>
                    <a:pt x="148" y="404"/>
                    <a:pt x="122" y="403"/>
                  </a:cubicBezTo>
                  <a:close/>
                  <a:moveTo>
                    <a:pt x="70" y="283"/>
                  </a:moveTo>
                  <a:cubicBezTo>
                    <a:pt x="70" y="301"/>
                    <a:pt x="76" y="318"/>
                    <a:pt x="89" y="330"/>
                  </a:cubicBezTo>
                  <a:cubicBezTo>
                    <a:pt x="104" y="343"/>
                    <a:pt x="122" y="349"/>
                    <a:pt x="141" y="348"/>
                  </a:cubicBezTo>
                  <a:cubicBezTo>
                    <a:pt x="168" y="349"/>
                    <a:pt x="194" y="339"/>
                    <a:pt x="213" y="321"/>
                  </a:cubicBezTo>
                  <a:cubicBezTo>
                    <a:pt x="232" y="303"/>
                    <a:pt x="242" y="278"/>
                    <a:pt x="241" y="252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185" y="187"/>
                    <a:pt x="143" y="197"/>
                    <a:pt x="114" y="213"/>
                  </a:cubicBezTo>
                  <a:cubicBezTo>
                    <a:pt x="87" y="226"/>
                    <a:pt x="70" y="254"/>
                    <a:pt x="70" y="283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6">
              <a:extLst>
                <a:ext uri="{FF2B5EF4-FFF2-40B4-BE49-F238E27FC236}">
                  <a16:creationId xmlns:a16="http://schemas.microsoft.com/office/drawing/2014/main" id="{FD4BE4C6-D0CB-4B9E-9AB1-5ABE9712CA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" y="2903"/>
              <a:ext cx="36" cy="295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37">
              <a:extLst>
                <a:ext uri="{FF2B5EF4-FFF2-40B4-BE49-F238E27FC236}">
                  <a16:creationId xmlns:a16="http://schemas.microsoft.com/office/drawing/2014/main" id="{3C22DC7C-BC1C-429E-A052-12FA982F6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" y="2989"/>
              <a:ext cx="160" cy="216"/>
            </a:xfrm>
            <a:custGeom>
              <a:avLst/>
              <a:gdLst>
                <a:gd name="T0" fmla="*/ 150 w 301"/>
                <a:gd name="T1" fmla="*/ 406 h 408"/>
                <a:gd name="T2" fmla="*/ 0 w 301"/>
                <a:gd name="T3" fmla="*/ 361 h 408"/>
                <a:gd name="T4" fmla="*/ 27 w 301"/>
                <a:gd name="T5" fmla="*/ 312 h 408"/>
                <a:gd name="T6" fmla="*/ 149 w 301"/>
                <a:gd name="T7" fmla="*/ 349 h 408"/>
                <a:gd name="T8" fmla="*/ 212 w 301"/>
                <a:gd name="T9" fmla="*/ 334 h 408"/>
                <a:gd name="T10" fmla="*/ 234 w 301"/>
                <a:gd name="T11" fmla="*/ 293 h 408"/>
                <a:gd name="T12" fmla="*/ 220 w 301"/>
                <a:gd name="T13" fmla="*/ 260 h 408"/>
                <a:gd name="T14" fmla="*/ 176 w 301"/>
                <a:gd name="T15" fmla="*/ 239 h 408"/>
                <a:gd name="T16" fmla="*/ 121 w 301"/>
                <a:gd name="T17" fmla="*/ 224 h 408"/>
                <a:gd name="T18" fmla="*/ 41 w 301"/>
                <a:gd name="T19" fmla="*/ 183 h 408"/>
                <a:gd name="T20" fmla="*/ 14 w 301"/>
                <a:gd name="T21" fmla="*/ 114 h 408"/>
                <a:gd name="T22" fmla="*/ 53 w 301"/>
                <a:gd name="T23" fmla="*/ 32 h 408"/>
                <a:gd name="T24" fmla="*/ 157 w 301"/>
                <a:gd name="T25" fmla="*/ 2 h 408"/>
                <a:gd name="T26" fmla="*/ 224 w 301"/>
                <a:gd name="T27" fmla="*/ 12 h 408"/>
                <a:gd name="T28" fmla="*/ 288 w 301"/>
                <a:gd name="T29" fmla="*/ 45 h 408"/>
                <a:gd name="T30" fmla="*/ 260 w 301"/>
                <a:gd name="T31" fmla="*/ 92 h 408"/>
                <a:gd name="T32" fmla="*/ 214 w 301"/>
                <a:gd name="T33" fmla="*/ 69 h 408"/>
                <a:gd name="T34" fmla="*/ 158 w 301"/>
                <a:gd name="T35" fmla="*/ 60 h 408"/>
                <a:gd name="T36" fmla="*/ 101 w 301"/>
                <a:gd name="T37" fmla="*/ 74 h 408"/>
                <a:gd name="T38" fmla="*/ 79 w 301"/>
                <a:gd name="T39" fmla="*/ 112 h 408"/>
                <a:gd name="T40" fmla="*/ 92 w 301"/>
                <a:gd name="T41" fmla="*/ 140 h 408"/>
                <a:gd name="T42" fmla="*/ 138 w 301"/>
                <a:gd name="T43" fmla="*/ 160 h 408"/>
                <a:gd name="T44" fmla="*/ 193 w 301"/>
                <a:gd name="T45" fmla="*/ 175 h 408"/>
                <a:gd name="T46" fmla="*/ 269 w 301"/>
                <a:gd name="T47" fmla="*/ 214 h 408"/>
                <a:gd name="T48" fmla="*/ 299 w 301"/>
                <a:gd name="T49" fmla="*/ 290 h 408"/>
                <a:gd name="T50" fmla="*/ 260 w 301"/>
                <a:gd name="T51" fmla="*/ 375 h 408"/>
                <a:gd name="T52" fmla="*/ 150 w 301"/>
                <a:gd name="T53" fmla="*/ 40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1" h="408">
                  <a:moveTo>
                    <a:pt x="150" y="406"/>
                  </a:moveTo>
                  <a:cubicBezTo>
                    <a:pt x="97" y="408"/>
                    <a:pt x="44" y="392"/>
                    <a:pt x="0" y="361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63" y="336"/>
                    <a:pt x="105" y="349"/>
                    <a:pt x="149" y="349"/>
                  </a:cubicBezTo>
                  <a:cubicBezTo>
                    <a:pt x="171" y="350"/>
                    <a:pt x="193" y="345"/>
                    <a:pt x="212" y="334"/>
                  </a:cubicBezTo>
                  <a:cubicBezTo>
                    <a:pt x="226" y="325"/>
                    <a:pt x="234" y="310"/>
                    <a:pt x="234" y="293"/>
                  </a:cubicBezTo>
                  <a:cubicBezTo>
                    <a:pt x="234" y="281"/>
                    <a:pt x="229" y="268"/>
                    <a:pt x="220" y="260"/>
                  </a:cubicBezTo>
                  <a:cubicBezTo>
                    <a:pt x="207" y="249"/>
                    <a:pt x="192" y="242"/>
                    <a:pt x="176" y="239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91" y="217"/>
                    <a:pt x="64" y="203"/>
                    <a:pt x="41" y="183"/>
                  </a:cubicBezTo>
                  <a:cubicBezTo>
                    <a:pt x="23" y="165"/>
                    <a:pt x="13" y="140"/>
                    <a:pt x="14" y="114"/>
                  </a:cubicBezTo>
                  <a:cubicBezTo>
                    <a:pt x="13" y="82"/>
                    <a:pt x="28" y="52"/>
                    <a:pt x="53" y="32"/>
                  </a:cubicBezTo>
                  <a:cubicBezTo>
                    <a:pt x="83" y="11"/>
                    <a:pt x="120" y="0"/>
                    <a:pt x="157" y="2"/>
                  </a:cubicBezTo>
                  <a:cubicBezTo>
                    <a:pt x="180" y="2"/>
                    <a:pt x="202" y="5"/>
                    <a:pt x="224" y="12"/>
                  </a:cubicBezTo>
                  <a:cubicBezTo>
                    <a:pt x="248" y="18"/>
                    <a:pt x="270" y="30"/>
                    <a:pt x="288" y="45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46" y="82"/>
                    <a:pt x="230" y="74"/>
                    <a:pt x="214" y="69"/>
                  </a:cubicBezTo>
                  <a:cubicBezTo>
                    <a:pt x="196" y="63"/>
                    <a:pt x="177" y="60"/>
                    <a:pt x="158" y="60"/>
                  </a:cubicBezTo>
                  <a:cubicBezTo>
                    <a:pt x="138" y="59"/>
                    <a:pt x="119" y="64"/>
                    <a:pt x="101" y="74"/>
                  </a:cubicBezTo>
                  <a:cubicBezTo>
                    <a:pt x="88" y="81"/>
                    <a:pt x="79" y="96"/>
                    <a:pt x="79" y="112"/>
                  </a:cubicBezTo>
                  <a:cubicBezTo>
                    <a:pt x="79" y="123"/>
                    <a:pt x="84" y="133"/>
                    <a:pt x="92" y="140"/>
                  </a:cubicBezTo>
                  <a:cubicBezTo>
                    <a:pt x="106" y="150"/>
                    <a:pt x="121" y="157"/>
                    <a:pt x="138" y="160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221" y="181"/>
                    <a:pt x="247" y="195"/>
                    <a:pt x="269" y="214"/>
                  </a:cubicBezTo>
                  <a:cubicBezTo>
                    <a:pt x="290" y="234"/>
                    <a:pt x="301" y="262"/>
                    <a:pt x="299" y="290"/>
                  </a:cubicBezTo>
                  <a:cubicBezTo>
                    <a:pt x="300" y="323"/>
                    <a:pt x="286" y="354"/>
                    <a:pt x="260" y="375"/>
                  </a:cubicBezTo>
                  <a:cubicBezTo>
                    <a:pt x="235" y="396"/>
                    <a:pt x="198" y="406"/>
                    <a:pt x="150" y="406"/>
                  </a:cubicBez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8">
              <a:extLst>
                <a:ext uri="{FF2B5EF4-FFF2-40B4-BE49-F238E27FC236}">
                  <a16:creationId xmlns:a16="http://schemas.microsoft.com/office/drawing/2014/main" id="{41848704-2F93-4207-A253-42589F6E56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0" y="2940"/>
              <a:ext cx="170" cy="78"/>
            </a:xfrm>
            <a:custGeom>
              <a:avLst/>
              <a:gdLst>
                <a:gd name="T0" fmla="*/ 70 w 170"/>
                <a:gd name="T1" fmla="*/ 0 h 78"/>
                <a:gd name="T2" fmla="*/ 70 w 170"/>
                <a:gd name="T3" fmla="*/ 11 h 78"/>
                <a:gd name="T4" fmla="*/ 41 w 170"/>
                <a:gd name="T5" fmla="*/ 11 h 78"/>
                <a:gd name="T6" fmla="*/ 41 w 170"/>
                <a:gd name="T7" fmla="*/ 78 h 78"/>
                <a:gd name="T8" fmla="*/ 28 w 170"/>
                <a:gd name="T9" fmla="*/ 78 h 78"/>
                <a:gd name="T10" fmla="*/ 28 w 170"/>
                <a:gd name="T11" fmla="*/ 11 h 78"/>
                <a:gd name="T12" fmla="*/ 0 w 170"/>
                <a:gd name="T13" fmla="*/ 11 h 78"/>
                <a:gd name="T14" fmla="*/ 0 w 170"/>
                <a:gd name="T15" fmla="*/ 0 h 78"/>
                <a:gd name="T16" fmla="*/ 70 w 170"/>
                <a:gd name="T17" fmla="*/ 0 h 78"/>
                <a:gd name="T18" fmla="*/ 84 w 170"/>
                <a:gd name="T19" fmla="*/ 78 h 78"/>
                <a:gd name="T20" fmla="*/ 84 w 170"/>
                <a:gd name="T21" fmla="*/ 0 h 78"/>
                <a:gd name="T22" fmla="*/ 99 w 170"/>
                <a:gd name="T23" fmla="*/ 0 h 78"/>
                <a:gd name="T24" fmla="*/ 127 w 170"/>
                <a:gd name="T25" fmla="*/ 43 h 78"/>
                <a:gd name="T26" fmla="*/ 156 w 170"/>
                <a:gd name="T27" fmla="*/ 0 h 78"/>
                <a:gd name="T28" fmla="*/ 170 w 170"/>
                <a:gd name="T29" fmla="*/ 0 h 78"/>
                <a:gd name="T30" fmla="*/ 170 w 170"/>
                <a:gd name="T31" fmla="*/ 78 h 78"/>
                <a:gd name="T32" fmla="*/ 157 w 170"/>
                <a:gd name="T33" fmla="*/ 78 h 78"/>
                <a:gd name="T34" fmla="*/ 157 w 170"/>
                <a:gd name="T35" fmla="*/ 18 h 78"/>
                <a:gd name="T36" fmla="*/ 131 w 170"/>
                <a:gd name="T37" fmla="*/ 57 h 78"/>
                <a:gd name="T38" fmla="*/ 123 w 170"/>
                <a:gd name="T39" fmla="*/ 57 h 78"/>
                <a:gd name="T40" fmla="*/ 98 w 170"/>
                <a:gd name="T41" fmla="*/ 18 h 78"/>
                <a:gd name="T42" fmla="*/ 98 w 170"/>
                <a:gd name="T43" fmla="*/ 78 h 78"/>
                <a:gd name="T44" fmla="*/ 84 w 170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0" h="78">
                  <a:moveTo>
                    <a:pt x="70" y="0"/>
                  </a:moveTo>
                  <a:lnTo>
                    <a:pt x="70" y="11"/>
                  </a:lnTo>
                  <a:lnTo>
                    <a:pt x="41" y="11"/>
                  </a:lnTo>
                  <a:lnTo>
                    <a:pt x="41" y="78"/>
                  </a:lnTo>
                  <a:lnTo>
                    <a:pt x="28" y="78"/>
                  </a:lnTo>
                  <a:lnTo>
                    <a:pt x="2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0" y="0"/>
                  </a:lnTo>
                  <a:close/>
                  <a:moveTo>
                    <a:pt x="84" y="78"/>
                  </a:moveTo>
                  <a:lnTo>
                    <a:pt x="84" y="0"/>
                  </a:lnTo>
                  <a:lnTo>
                    <a:pt x="99" y="0"/>
                  </a:lnTo>
                  <a:lnTo>
                    <a:pt x="127" y="43"/>
                  </a:lnTo>
                  <a:lnTo>
                    <a:pt x="156" y="0"/>
                  </a:lnTo>
                  <a:lnTo>
                    <a:pt x="170" y="0"/>
                  </a:lnTo>
                  <a:lnTo>
                    <a:pt x="170" y="78"/>
                  </a:lnTo>
                  <a:lnTo>
                    <a:pt x="157" y="78"/>
                  </a:lnTo>
                  <a:lnTo>
                    <a:pt x="157" y="18"/>
                  </a:lnTo>
                  <a:lnTo>
                    <a:pt x="131" y="57"/>
                  </a:lnTo>
                  <a:lnTo>
                    <a:pt x="123" y="57"/>
                  </a:lnTo>
                  <a:lnTo>
                    <a:pt x="98" y="18"/>
                  </a:lnTo>
                  <a:lnTo>
                    <a:pt x="98" y="78"/>
                  </a:lnTo>
                  <a:lnTo>
                    <a:pt x="84" y="78"/>
                  </a:lnTo>
                  <a:close/>
                </a:path>
              </a:pathLst>
            </a:custGeom>
            <a:solidFill>
              <a:srgbClr val="008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6704754"/>
      </p:ext>
    </p:extLst>
  </p:cSld>
  <p:clrMapOvr>
    <a:masterClrMapping/>
  </p:clrMapOvr>
  <p:transition>
    <p:fade/>
  </p:transition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913742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8CDB36F5-F78C-4C10-8BF8-FDA00BC336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3C2BC79-D4E3-4106-91B2-6A57900BF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6">
              <a:extLst>
                <a:ext uri="{FF2B5EF4-FFF2-40B4-BE49-F238E27FC236}">
                  <a16:creationId xmlns:a16="http://schemas.microsoft.com/office/drawing/2014/main" id="{1C95E061-072E-4B84-8597-97999D7BC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05E5FE0-7AA8-4F39-B8ED-92E37AC49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BBCFF6EA-EAF5-4931-B95D-2E44EAC6E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A88D08ED-B424-45E4-A370-829509FA0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ED228159-E638-4F0D-8EE3-8E3DD95E3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2DE7EAC-ED11-4A55-9D2A-76BCA7A3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CC687178-565D-4D7D-B8B6-C96BA1EE4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B3F32274-1CFB-4AF6-A5F7-D5CAB9FBE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C7E8EA48-2251-490B-93E6-9844E45F5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64A92754-7E05-452C-AD95-3B6492AF42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488EA5D1-97C7-4E1C-B8B2-0E3888F16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F6402BD4-8E31-498E-B13A-2F50D16C1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E98F8FF6-D301-4BB8-BD34-778EB7E98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19">
              <a:extLst>
                <a:ext uri="{FF2B5EF4-FFF2-40B4-BE49-F238E27FC236}">
                  <a16:creationId xmlns:a16="http://schemas.microsoft.com/office/drawing/2014/main" id="{36F839D1-B8A7-4B83-98BD-C10AFD83D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30D62123-7F9E-42EE-A2CA-200086EC7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758F2BAF-939E-4D72-BCDB-0A9CB0B30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8763299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CFF5F-63CC-2A15-B3BB-7F8260ABF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1C608D-7922-2A3D-6C35-B2D30B539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A58369-0650-6B70-4E6E-043A65FF1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5E3A6-B5E8-88A1-208D-CC89CE8CB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644692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0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0" y="3780000"/>
            <a:ext cx="4932729" cy="16799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 b="0"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EEF6460A-0D6A-4327-B2BE-0C9712B6A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49D3C08-5CC1-4098-8B8E-914BB34B61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CD1EA3F-E357-4AD9-9CE2-D1FD206A90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27474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0447BAF-8359-4A21-89C7-6B2FF2FBD7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0000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00F93BD-FB5F-4CF5-8A8E-48893055A0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27474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F4393C47-4AA9-48E1-B379-92891715B0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DB0B40F-9F70-4D1C-A539-9021055EF9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27474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57378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58671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H Strategic Frame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0C1C7D-9AC0-4E4D-95C9-FEC944F2E2A1}"/>
              </a:ext>
            </a:extLst>
          </p:cNvPr>
          <p:cNvSpPr/>
          <p:nvPr userDrawn="1"/>
        </p:nvSpPr>
        <p:spPr>
          <a:xfrm>
            <a:off x="0" y="6089560"/>
            <a:ext cx="12192000" cy="768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5B7DD4-D832-164C-98B0-1C62BFFDF22E}"/>
              </a:ext>
            </a:extLst>
          </p:cNvPr>
          <p:cNvSpPr/>
          <p:nvPr userDrawn="1"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5C6EF-87B7-8D47-A6DD-6D63EDD2E655}"/>
              </a:ext>
            </a:extLst>
          </p:cNvPr>
          <p:cNvSpPr txBox="1"/>
          <p:nvPr userDrawn="1"/>
        </p:nvSpPr>
        <p:spPr>
          <a:xfrm>
            <a:off x="2853823" y="6096001"/>
            <a:ext cx="7028114" cy="761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7" rIns="91414" bIns="457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228521">
              <a:defRPr/>
            </a:pPr>
            <a: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  <a:t>We operate responsibly every day to enable </a:t>
            </a:r>
            <a:b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</a:br>
            <a: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  <a:t>a safe, sustainable, and healthy future.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F789F2-1D96-4196-9893-98DE29098D24}"/>
              </a:ext>
            </a:extLst>
          </p:cNvPr>
          <p:cNvSpPr txBox="1"/>
          <p:nvPr userDrawn="1"/>
        </p:nvSpPr>
        <p:spPr>
          <a:xfrm>
            <a:off x="9187194" y="6508377"/>
            <a:ext cx="3004807" cy="2366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For internal use only. Do not share externally. </a:t>
            </a:r>
          </a:p>
          <a:p>
            <a:pPr algn="l"/>
            <a:endParaRPr lang="en-US" sz="105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9BAFF8B7-8864-462D-A7A0-95CD44A1217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6459" y="6259396"/>
            <a:ext cx="1040860" cy="367282"/>
            <a:chOff x="0" y="805"/>
            <a:chExt cx="7680" cy="2710"/>
          </a:xfrm>
          <a:solidFill>
            <a:schemeClr val="bg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C1AFF7A2-3C70-40E3-A579-D14A51EF9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805"/>
              <a:ext cx="2238" cy="2241"/>
            </a:xfrm>
            <a:custGeom>
              <a:avLst/>
              <a:gdLst>
                <a:gd name="T0" fmla="*/ 146 w 587"/>
                <a:gd name="T1" fmla="*/ 147 h 587"/>
                <a:gd name="T2" fmla="*/ 293 w 587"/>
                <a:gd name="T3" fmla="*/ 0 h 587"/>
                <a:gd name="T4" fmla="*/ 440 w 587"/>
                <a:gd name="T5" fmla="*/ 147 h 587"/>
                <a:gd name="T6" fmla="*/ 146 w 587"/>
                <a:gd name="T7" fmla="*/ 147 h 587"/>
                <a:gd name="T8" fmla="*/ 146 w 587"/>
                <a:gd name="T9" fmla="*/ 441 h 587"/>
                <a:gd name="T10" fmla="*/ 293 w 587"/>
                <a:gd name="T11" fmla="*/ 587 h 587"/>
                <a:gd name="T12" fmla="*/ 440 w 587"/>
                <a:gd name="T13" fmla="*/ 441 h 587"/>
                <a:gd name="T14" fmla="*/ 146 w 587"/>
                <a:gd name="T15" fmla="*/ 441 h 587"/>
                <a:gd name="T16" fmla="*/ 279 w 587"/>
                <a:gd name="T17" fmla="*/ 293 h 587"/>
                <a:gd name="T18" fmla="*/ 146 w 587"/>
                <a:gd name="T19" fmla="*/ 147 h 587"/>
                <a:gd name="T20" fmla="*/ 0 w 587"/>
                <a:gd name="T21" fmla="*/ 294 h 587"/>
                <a:gd name="T22" fmla="*/ 146 w 587"/>
                <a:gd name="T23" fmla="*/ 441 h 587"/>
                <a:gd name="T24" fmla="*/ 279 w 587"/>
                <a:gd name="T25" fmla="*/ 294 h 587"/>
                <a:gd name="T26" fmla="*/ 279 w 587"/>
                <a:gd name="T27" fmla="*/ 293 h 587"/>
                <a:gd name="T28" fmla="*/ 307 w 587"/>
                <a:gd name="T29" fmla="*/ 294 h 587"/>
                <a:gd name="T30" fmla="*/ 440 w 587"/>
                <a:gd name="T31" fmla="*/ 441 h 587"/>
                <a:gd name="T32" fmla="*/ 587 w 587"/>
                <a:gd name="T33" fmla="*/ 294 h 587"/>
                <a:gd name="T34" fmla="*/ 440 w 587"/>
                <a:gd name="T35" fmla="*/ 147 h 587"/>
                <a:gd name="T36" fmla="*/ 307 w 587"/>
                <a:gd name="T37" fmla="*/ 293 h 587"/>
                <a:gd name="T38" fmla="*/ 307 w 587"/>
                <a:gd name="T39" fmla="*/ 294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7" h="587">
                  <a:moveTo>
                    <a:pt x="146" y="147"/>
                  </a:moveTo>
                  <a:cubicBezTo>
                    <a:pt x="146" y="66"/>
                    <a:pt x="212" y="0"/>
                    <a:pt x="293" y="0"/>
                  </a:cubicBezTo>
                  <a:cubicBezTo>
                    <a:pt x="374" y="0"/>
                    <a:pt x="440" y="66"/>
                    <a:pt x="440" y="147"/>
                  </a:cubicBezTo>
                  <a:cubicBezTo>
                    <a:pt x="146" y="147"/>
                    <a:pt x="146" y="147"/>
                    <a:pt x="146" y="147"/>
                  </a:cubicBezTo>
                  <a:moveTo>
                    <a:pt x="146" y="441"/>
                  </a:moveTo>
                  <a:cubicBezTo>
                    <a:pt x="146" y="522"/>
                    <a:pt x="212" y="587"/>
                    <a:pt x="293" y="587"/>
                  </a:cubicBezTo>
                  <a:cubicBezTo>
                    <a:pt x="374" y="587"/>
                    <a:pt x="440" y="522"/>
                    <a:pt x="440" y="441"/>
                  </a:cubicBezTo>
                  <a:lnTo>
                    <a:pt x="146" y="441"/>
                  </a:lnTo>
                  <a:close/>
                  <a:moveTo>
                    <a:pt x="279" y="293"/>
                  </a:moveTo>
                  <a:cubicBezTo>
                    <a:pt x="205" y="286"/>
                    <a:pt x="146" y="223"/>
                    <a:pt x="146" y="147"/>
                  </a:cubicBezTo>
                  <a:cubicBezTo>
                    <a:pt x="65" y="147"/>
                    <a:pt x="0" y="213"/>
                    <a:pt x="0" y="294"/>
                  </a:cubicBezTo>
                  <a:cubicBezTo>
                    <a:pt x="0" y="375"/>
                    <a:pt x="65" y="441"/>
                    <a:pt x="146" y="441"/>
                  </a:cubicBezTo>
                  <a:cubicBezTo>
                    <a:pt x="146" y="364"/>
                    <a:pt x="205" y="301"/>
                    <a:pt x="279" y="294"/>
                  </a:cubicBezTo>
                  <a:lnTo>
                    <a:pt x="279" y="293"/>
                  </a:lnTo>
                  <a:close/>
                  <a:moveTo>
                    <a:pt x="307" y="294"/>
                  </a:moveTo>
                  <a:cubicBezTo>
                    <a:pt x="382" y="301"/>
                    <a:pt x="440" y="364"/>
                    <a:pt x="440" y="441"/>
                  </a:cubicBezTo>
                  <a:cubicBezTo>
                    <a:pt x="521" y="441"/>
                    <a:pt x="587" y="375"/>
                    <a:pt x="587" y="294"/>
                  </a:cubicBezTo>
                  <a:cubicBezTo>
                    <a:pt x="587" y="213"/>
                    <a:pt x="521" y="147"/>
                    <a:pt x="440" y="147"/>
                  </a:cubicBezTo>
                  <a:cubicBezTo>
                    <a:pt x="440" y="223"/>
                    <a:pt x="382" y="286"/>
                    <a:pt x="307" y="293"/>
                  </a:cubicBezTo>
                  <a:cubicBezTo>
                    <a:pt x="307" y="294"/>
                    <a:pt x="307" y="294"/>
                    <a:pt x="307" y="2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DB21658-22B4-46A7-8BE5-A4C6124A6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" y="1343"/>
              <a:ext cx="4927" cy="2172"/>
            </a:xfrm>
            <a:custGeom>
              <a:avLst/>
              <a:gdLst>
                <a:gd name="T0" fmla="*/ 1105 w 1292"/>
                <a:gd name="T1" fmla="*/ 6 h 569"/>
                <a:gd name="T2" fmla="*/ 774 w 1292"/>
                <a:gd name="T3" fmla="*/ 158 h 569"/>
                <a:gd name="T4" fmla="*/ 938 w 1292"/>
                <a:gd name="T5" fmla="*/ 255 h 569"/>
                <a:gd name="T6" fmla="*/ 1011 w 1292"/>
                <a:gd name="T7" fmla="*/ 18 h 569"/>
                <a:gd name="T8" fmla="*/ 352 w 1292"/>
                <a:gd name="T9" fmla="*/ 302 h 569"/>
                <a:gd name="T10" fmla="*/ 418 w 1292"/>
                <a:gd name="T11" fmla="*/ 177 h 569"/>
                <a:gd name="T12" fmla="*/ 418 w 1292"/>
                <a:gd name="T13" fmla="*/ 58 h 569"/>
                <a:gd name="T14" fmla="*/ 1291 w 1292"/>
                <a:gd name="T15" fmla="*/ 301 h 569"/>
                <a:gd name="T16" fmla="*/ 1107 w 1292"/>
                <a:gd name="T17" fmla="*/ 140 h 569"/>
                <a:gd name="T18" fmla="*/ 655 w 1292"/>
                <a:gd name="T19" fmla="*/ 140 h 569"/>
                <a:gd name="T20" fmla="*/ 620 w 1292"/>
                <a:gd name="T21" fmla="*/ 140 h 569"/>
                <a:gd name="T22" fmla="*/ 764 w 1292"/>
                <a:gd name="T23" fmla="*/ 94 h 569"/>
                <a:gd name="T24" fmla="*/ 618 w 1292"/>
                <a:gd name="T25" fmla="*/ 302 h 569"/>
                <a:gd name="T26" fmla="*/ 255 w 1292"/>
                <a:gd name="T27" fmla="*/ 302 h 569"/>
                <a:gd name="T28" fmla="*/ 164 w 1292"/>
                <a:gd name="T29" fmla="*/ 157 h 569"/>
                <a:gd name="T30" fmla="*/ 72 w 1292"/>
                <a:gd name="T31" fmla="*/ 302 h 569"/>
                <a:gd name="T32" fmla="*/ 20 w 1292"/>
                <a:gd name="T33" fmla="*/ 565 h 569"/>
                <a:gd name="T34" fmla="*/ 137 w 1292"/>
                <a:gd name="T35" fmla="*/ 565 h 569"/>
                <a:gd name="T36" fmla="*/ 69 w 1292"/>
                <a:gd name="T37" fmla="*/ 443 h 569"/>
                <a:gd name="T38" fmla="*/ 157 w 1292"/>
                <a:gd name="T39" fmla="*/ 565 h 569"/>
                <a:gd name="T40" fmla="*/ 219 w 1292"/>
                <a:gd name="T41" fmla="*/ 486 h 569"/>
                <a:gd name="T42" fmla="*/ 243 w 1292"/>
                <a:gd name="T43" fmla="*/ 499 h 569"/>
                <a:gd name="T44" fmla="*/ 157 w 1292"/>
                <a:gd name="T45" fmla="*/ 467 h 569"/>
                <a:gd name="T46" fmla="*/ 296 w 1292"/>
                <a:gd name="T47" fmla="*/ 445 h 569"/>
                <a:gd name="T48" fmla="*/ 276 w 1292"/>
                <a:gd name="T49" fmla="*/ 565 h 569"/>
                <a:gd name="T50" fmla="*/ 276 w 1292"/>
                <a:gd name="T51" fmla="*/ 565 h 569"/>
                <a:gd name="T52" fmla="*/ 353 w 1292"/>
                <a:gd name="T53" fmla="*/ 490 h 569"/>
                <a:gd name="T54" fmla="*/ 415 w 1292"/>
                <a:gd name="T55" fmla="*/ 565 h 569"/>
                <a:gd name="T56" fmla="*/ 459 w 1292"/>
                <a:gd name="T57" fmla="*/ 487 h 569"/>
                <a:gd name="T58" fmla="*/ 481 w 1292"/>
                <a:gd name="T59" fmla="*/ 499 h 569"/>
                <a:gd name="T60" fmla="*/ 348 w 1292"/>
                <a:gd name="T61" fmla="*/ 481 h 569"/>
                <a:gd name="T62" fmla="*/ 330 w 1292"/>
                <a:gd name="T63" fmla="*/ 565 h 569"/>
                <a:gd name="T64" fmla="*/ 588 w 1292"/>
                <a:gd name="T65" fmla="*/ 479 h 569"/>
                <a:gd name="T66" fmla="*/ 533 w 1292"/>
                <a:gd name="T67" fmla="*/ 493 h 569"/>
                <a:gd name="T68" fmla="*/ 560 w 1292"/>
                <a:gd name="T69" fmla="*/ 504 h 569"/>
                <a:gd name="T70" fmla="*/ 574 w 1292"/>
                <a:gd name="T71" fmla="*/ 551 h 569"/>
                <a:gd name="T72" fmla="*/ 568 w 1292"/>
                <a:gd name="T73" fmla="*/ 544 h 569"/>
                <a:gd name="T74" fmla="*/ 573 w 1292"/>
                <a:gd name="T75" fmla="*/ 518 h 569"/>
                <a:gd name="T76" fmla="*/ 624 w 1292"/>
                <a:gd name="T77" fmla="*/ 424 h 569"/>
                <a:gd name="T78" fmla="*/ 753 w 1292"/>
                <a:gd name="T79" fmla="*/ 565 h 569"/>
                <a:gd name="T80" fmla="*/ 839 w 1292"/>
                <a:gd name="T81" fmla="*/ 565 h 569"/>
                <a:gd name="T82" fmla="*/ 753 w 1292"/>
                <a:gd name="T83" fmla="*/ 485 h 569"/>
                <a:gd name="T84" fmla="*/ 913 w 1292"/>
                <a:gd name="T85" fmla="*/ 465 h 569"/>
                <a:gd name="T86" fmla="*/ 947 w 1292"/>
                <a:gd name="T87" fmla="*/ 555 h 569"/>
                <a:gd name="T88" fmla="*/ 885 w 1292"/>
                <a:gd name="T89" fmla="*/ 519 h 569"/>
                <a:gd name="T90" fmla="*/ 913 w 1292"/>
                <a:gd name="T91" fmla="*/ 478 h 569"/>
                <a:gd name="T92" fmla="*/ 1058 w 1292"/>
                <a:gd name="T93" fmla="*/ 541 h 569"/>
                <a:gd name="T94" fmla="*/ 989 w 1292"/>
                <a:gd name="T95" fmla="*/ 475 h 569"/>
                <a:gd name="T96" fmla="*/ 1038 w 1292"/>
                <a:gd name="T97" fmla="*/ 483 h 569"/>
                <a:gd name="T98" fmla="*/ 976 w 1292"/>
                <a:gd name="T99" fmla="*/ 540 h 569"/>
                <a:gd name="T100" fmla="*/ 1060 w 1292"/>
                <a:gd name="T101" fmla="*/ 565 h 569"/>
                <a:gd name="T102" fmla="*/ 995 w 1292"/>
                <a:gd name="T103" fmla="*/ 537 h 569"/>
                <a:gd name="T104" fmla="*/ 1109 w 1292"/>
                <a:gd name="T105" fmla="*/ 565 h 569"/>
                <a:gd name="T106" fmla="*/ 1127 w 1292"/>
                <a:gd name="T107" fmla="*/ 480 h 569"/>
                <a:gd name="T108" fmla="*/ 1184 w 1292"/>
                <a:gd name="T109" fmla="*/ 566 h 569"/>
                <a:gd name="T110" fmla="*/ 1162 w 1292"/>
                <a:gd name="T111" fmla="*/ 480 h 569"/>
                <a:gd name="T112" fmla="*/ 1162 w 1292"/>
                <a:gd name="T113" fmla="*/ 440 h 569"/>
                <a:gd name="T114" fmla="*/ 1127 w 1292"/>
                <a:gd name="T115" fmla="*/ 480 h 569"/>
                <a:gd name="T116" fmla="*/ 1229 w 1292"/>
                <a:gd name="T117" fmla="*/ 493 h 569"/>
                <a:gd name="T118" fmla="*/ 1292 w 1292"/>
                <a:gd name="T119" fmla="*/ 565 h 569"/>
                <a:gd name="T120" fmla="*/ 1225 w 1292"/>
                <a:gd name="T121" fmla="*/ 481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2" h="569">
                  <a:moveTo>
                    <a:pt x="1105" y="302"/>
                  </a:moveTo>
                  <a:cubicBezTo>
                    <a:pt x="1040" y="302"/>
                    <a:pt x="1040" y="302"/>
                    <a:pt x="1040" y="302"/>
                  </a:cubicBezTo>
                  <a:cubicBezTo>
                    <a:pt x="1040" y="6"/>
                    <a:pt x="1040" y="6"/>
                    <a:pt x="1040" y="6"/>
                  </a:cubicBezTo>
                  <a:cubicBezTo>
                    <a:pt x="1105" y="6"/>
                    <a:pt x="1105" y="6"/>
                    <a:pt x="1105" y="6"/>
                  </a:cubicBezTo>
                  <a:lnTo>
                    <a:pt x="1105" y="302"/>
                  </a:lnTo>
                  <a:close/>
                  <a:moveTo>
                    <a:pt x="1011" y="18"/>
                  </a:moveTo>
                  <a:cubicBezTo>
                    <a:pt x="989" y="7"/>
                    <a:pt x="964" y="0"/>
                    <a:pt x="937" y="0"/>
                  </a:cubicBezTo>
                  <a:cubicBezTo>
                    <a:pt x="840" y="0"/>
                    <a:pt x="774" y="74"/>
                    <a:pt x="774" y="158"/>
                  </a:cubicBezTo>
                  <a:cubicBezTo>
                    <a:pt x="774" y="239"/>
                    <a:pt x="843" y="310"/>
                    <a:pt x="936" y="310"/>
                  </a:cubicBezTo>
                  <a:cubicBezTo>
                    <a:pt x="963" y="310"/>
                    <a:pt x="987" y="303"/>
                    <a:pt x="1011" y="293"/>
                  </a:cubicBezTo>
                  <a:cubicBezTo>
                    <a:pt x="1011" y="225"/>
                    <a:pt x="1011" y="225"/>
                    <a:pt x="1011" y="225"/>
                  </a:cubicBezTo>
                  <a:cubicBezTo>
                    <a:pt x="993" y="243"/>
                    <a:pt x="965" y="255"/>
                    <a:pt x="938" y="255"/>
                  </a:cubicBezTo>
                  <a:cubicBezTo>
                    <a:pt x="878" y="255"/>
                    <a:pt x="841" y="206"/>
                    <a:pt x="841" y="157"/>
                  </a:cubicBezTo>
                  <a:cubicBezTo>
                    <a:pt x="841" y="106"/>
                    <a:pt x="876" y="57"/>
                    <a:pt x="939" y="57"/>
                  </a:cubicBezTo>
                  <a:cubicBezTo>
                    <a:pt x="966" y="57"/>
                    <a:pt x="993" y="67"/>
                    <a:pt x="1011" y="86"/>
                  </a:cubicBezTo>
                  <a:cubicBezTo>
                    <a:pt x="1011" y="18"/>
                    <a:pt x="1011" y="18"/>
                    <a:pt x="1011" y="18"/>
                  </a:cubicBezTo>
                  <a:moveTo>
                    <a:pt x="525" y="58"/>
                  </a:moveTo>
                  <a:cubicBezTo>
                    <a:pt x="525" y="6"/>
                    <a:pt x="525" y="6"/>
                    <a:pt x="525" y="6"/>
                  </a:cubicBezTo>
                  <a:cubicBezTo>
                    <a:pt x="352" y="6"/>
                    <a:pt x="352" y="6"/>
                    <a:pt x="352" y="6"/>
                  </a:cubicBezTo>
                  <a:cubicBezTo>
                    <a:pt x="352" y="302"/>
                    <a:pt x="352" y="302"/>
                    <a:pt x="352" y="302"/>
                  </a:cubicBezTo>
                  <a:cubicBezTo>
                    <a:pt x="525" y="302"/>
                    <a:pt x="525" y="302"/>
                    <a:pt x="525" y="302"/>
                  </a:cubicBezTo>
                  <a:cubicBezTo>
                    <a:pt x="525" y="251"/>
                    <a:pt x="525" y="251"/>
                    <a:pt x="525" y="251"/>
                  </a:cubicBezTo>
                  <a:cubicBezTo>
                    <a:pt x="418" y="251"/>
                    <a:pt x="418" y="251"/>
                    <a:pt x="418" y="251"/>
                  </a:cubicBezTo>
                  <a:cubicBezTo>
                    <a:pt x="418" y="177"/>
                    <a:pt x="418" y="177"/>
                    <a:pt x="418" y="177"/>
                  </a:cubicBezTo>
                  <a:cubicBezTo>
                    <a:pt x="521" y="177"/>
                    <a:pt x="521" y="177"/>
                    <a:pt x="521" y="177"/>
                  </a:cubicBezTo>
                  <a:cubicBezTo>
                    <a:pt x="521" y="125"/>
                    <a:pt x="521" y="125"/>
                    <a:pt x="521" y="125"/>
                  </a:cubicBezTo>
                  <a:cubicBezTo>
                    <a:pt x="418" y="125"/>
                    <a:pt x="418" y="125"/>
                    <a:pt x="418" y="125"/>
                  </a:cubicBezTo>
                  <a:cubicBezTo>
                    <a:pt x="418" y="58"/>
                    <a:pt x="418" y="58"/>
                    <a:pt x="418" y="58"/>
                  </a:cubicBezTo>
                  <a:cubicBezTo>
                    <a:pt x="525" y="58"/>
                    <a:pt x="525" y="58"/>
                    <a:pt x="525" y="58"/>
                  </a:cubicBezTo>
                  <a:moveTo>
                    <a:pt x="1107" y="140"/>
                  </a:moveTo>
                  <a:cubicBezTo>
                    <a:pt x="1216" y="301"/>
                    <a:pt x="1216" y="301"/>
                    <a:pt x="1216" y="301"/>
                  </a:cubicBezTo>
                  <a:cubicBezTo>
                    <a:pt x="1291" y="301"/>
                    <a:pt x="1291" y="301"/>
                    <a:pt x="1291" y="301"/>
                  </a:cubicBezTo>
                  <a:cubicBezTo>
                    <a:pt x="1180" y="140"/>
                    <a:pt x="1180" y="140"/>
                    <a:pt x="1180" y="140"/>
                  </a:cubicBezTo>
                  <a:cubicBezTo>
                    <a:pt x="1277" y="6"/>
                    <a:pt x="1277" y="6"/>
                    <a:pt x="1277" y="6"/>
                  </a:cubicBezTo>
                  <a:cubicBezTo>
                    <a:pt x="1202" y="6"/>
                    <a:pt x="1202" y="6"/>
                    <a:pt x="1202" y="6"/>
                  </a:cubicBezTo>
                  <a:lnTo>
                    <a:pt x="1107" y="140"/>
                  </a:lnTo>
                  <a:close/>
                  <a:moveTo>
                    <a:pt x="618" y="54"/>
                  </a:moveTo>
                  <a:cubicBezTo>
                    <a:pt x="618" y="54"/>
                    <a:pt x="657" y="54"/>
                    <a:pt x="659" y="54"/>
                  </a:cubicBezTo>
                  <a:cubicBezTo>
                    <a:pt x="681" y="56"/>
                    <a:pt x="698" y="75"/>
                    <a:pt x="698" y="97"/>
                  </a:cubicBezTo>
                  <a:cubicBezTo>
                    <a:pt x="698" y="121"/>
                    <a:pt x="679" y="140"/>
                    <a:pt x="655" y="140"/>
                  </a:cubicBezTo>
                  <a:cubicBezTo>
                    <a:pt x="655" y="140"/>
                    <a:pt x="654" y="140"/>
                    <a:pt x="654" y="140"/>
                  </a:cubicBezTo>
                  <a:cubicBezTo>
                    <a:pt x="651" y="140"/>
                    <a:pt x="638" y="140"/>
                    <a:pt x="635" y="140"/>
                  </a:cubicBezTo>
                  <a:cubicBezTo>
                    <a:pt x="628" y="140"/>
                    <a:pt x="628" y="140"/>
                    <a:pt x="628" y="140"/>
                  </a:cubicBezTo>
                  <a:cubicBezTo>
                    <a:pt x="620" y="140"/>
                    <a:pt x="620" y="140"/>
                    <a:pt x="620" y="140"/>
                  </a:cubicBezTo>
                  <a:cubicBezTo>
                    <a:pt x="728" y="302"/>
                    <a:pt x="728" y="302"/>
                    <a:pt x="728" y="302"/>
                  </a:cubicBezTo>
                  <a:cubicBezTo>
                    <a:pt x="801" y="302"/>
                    <a:pt x="801" y="302"/>
                    <a:pt x="801" y="302"/>
                  </a:cubicBezTo>
                  <a:cubicBezTo>
                    <a:pt x="711" y="174"/>
                    <a:pt x="711" y="174"/>
                    <a:pt x="711" y="174"/>
                  </a:cubicBezTo>
                  <a:cubicBezTo>
                    <a:pt x="748" y="161"/>
                    <a:pt x="764" y="130"/>
                    <a:pt x="764" y="94"/>
                  </a:cubicBezTo>
                  <a:cubicBezTo>
                    <a:pt x="764" y="45"/>
                    <a:pt x="725" y="6"/>
                    <a:pt x="676" y="6"/>
                  </a:cubicBezTo>
                  <a:cubicBezTo>
                    <a:pt x="675" y="6"/>
                    <a:pt x="553" y="6"/>
                    <a:pt x="553" y="6"/>
                  </a:cubicBezTo>
                  <a:cubicBezTo>
                    <a:pt x="553" y="302"/>
                    <a:pt x="553" y="302"/>
                    <a:pt x="553" y="302"/>
                  </a:cubicBezTo>
                  <a:cubicBezTo>
                    <a:pt x="618" y="302"/>
                    <a:pt x="618" y="302"/>
                    <a:pt x="618" y="302"/>
                  </a:cubicBezTo>
                  <a:lnTo>
                    <a:pt x="618" y="54"/>
                  </a:lnTo>
                  <a:close/>
                  <a:moveTo>
                    <a:pt x="164" y="305"/>
                  </a:moveTo>
                  <a:cubicBezTo>
                    <a:pt x="255" y="92"/>
                    <a:pt x="255" y="92"/>
                    <a:pt x="255" y="92"/>
                  </a:cubicBezTo>
                  <a:cubicBezTo>
                    <a:pt x="255" y="302"/>
                    <a:pt x="255" y="302"/>
                    <a:pt x="255" y="302"/>
                  </a:cubicBezTo>
                  <a:cubicBezTo>
                    <a:pt x="319" y="302"/>
                    <a:pt x="319" y="302"/>
                    <a:pt x="319" y="302"/>
                  </a:cubicBezTo>
                  <a:cubicBezTo>
                    <a:pt x="319" y="6"/>
                    <a:pt x="319" y="6"/>
                    <a:pt x="319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72" y="302"/>
                    <a:pt x="72" y="302"/>
                    <a:pt x="72" y="302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164" y="305"/>
                    <a:pt x="164" y="305"/>
                    <a:pt x="164" y="305"/>
                  </a:cubicBezTo>
                  <a:close/>
                  <a:moveTo>
                    <a:pt x="0" y="565"/>
                  </a:moveTo>
                  <a:cubicBezTo>
                    <a:pt x="20" y="565"/>
                    <a:pt x="20" y="565"/>
                    <a:pt x="20" y="565"/>
                  </a:cubicBezTo>
                  <a:cubicBezTo>
                    <a:pt x="35" y="529"/>
                    <a:pt x="35" y="529"/>
                    <a:pt x="35" y="529"/>
                  </a:cubicBezTo>
                  <a:cubicBezTo>
                    <a:pt x="101" y="529"/>
                    <a:pt x="101" y="529"/>
                    <a:pt x="101" y="529"/>
                  </a:cubicBezTo>
                  <a:cubicBezTo>
                    <a:pt x="116" y="565"/>
                    <a:pt x="116" y="565"/>
                    <a:pt x="116" y="565"/>
                  </a:cubicBezTo>
                  <a:cubicBezTo>
                    <a:pt x="137" y="565"/>
                    <a:pt x="137" y="565"/>
                    <a:pt x="137" y="565"/>
                  </a:cubicBezTo>
                  <a:cubicBezTo>
                    <a:pt x="80" y="424"/>
                    <a:pt x="80" y="424"/>
                    <a:pt x="80" y="424"/>
                  </a:cubicBezTo>
                  <a:cubicBezTo>
                    <a:pt x="59" y="424"/>
                    <a:pt x="59" y="424"/>
                    <a:pt x="59" y="424"/>
                  </a:cubicBezTo>
                  <a:lnTo>
                    <a:pt x="0" y="565"/>
                  </a:lnTo>
                  <a:close/>
                  <a:moveTo>
                    <a:pt x="69" y="443"/>
                  </a:moveTo>
                  <a:cubicBezTo>
                    <a:pt x="95" y="513"/>
                    <a:pt x="95" y="513"/>
                    <a:pt x="95" y="513"/>
                  </a:cubicBezTo>
                  <a:cubicBezTo>
                    <a:pt x="41" y="513"/>
                    <a:pt x="41" y="513"/>
                    <a:pt x="41" y="513"/>
                  </a:cubicBezTo>
                  <a:lnTo>
                    <a:pt x="69" y="443"/>
                  </a:lnTo>
                  <a:close/>
                  <a:moveTo>
                    <a:pt x="157" y="565"/>
                  </a:moveTo>
                  <a:cubicBezTo>
                    <a:pt x="175" y="565"/>
                    <a:pt x="175" y="565"/>
                    <a:pt x="175" y="565"/>
                  </a:cubicBezTo>
                  <a:cubicBezTo>
                    <a:pt x="175" y="509"/>
                    <a:pt x="175" y="509"/>
                    <a:pt x="175" y="509"/>
                  </a:cubicBezTo>
                  <a:cubicBezTo>
                    <a:pt x="175" y="489"/>
                    <a:pt x="188" y="480"/>
                    <a:pt x="201" y="480"/>
                  </a:cubicBezTo>
                  <a:cubicBezTo>
                    <a:pt x="207" y="480"/>
                    <a:pt x="214" y="482"/>
                    <a:pt x="219" y="486"/>
                  </a:cubicBezTo>
                  <a:cubicBezTo>
                    <a:pt x="223" y="491"/>
                    <a:pt x="224" y="497"/>
                    <a:pt x="224" y="503"/>
                  </a:cubicBezTo>
                  <a:cubicBezTo>
                    <a:pt x="224" y="565"/>
                    <a:pt x="224" y="565"/>
                    <a:pt x="224" y="565"/>
                  </a:cubicBezTo>
                  <a:cubicBezTo>
                    <a:pt x="243" y="565"/>
                    <a:pt x="243" y="565"/>
                    <a:pt x="243" y="565"/>
                  </a:cubicBezTo>
                  <a:cubicBezTo>
                    <a:pt x="243" y="499"/>
                    <a:pt x="243" y="499"/>
                    <a:pt x="243" y="499"/>
                  </a:cubicBezTo>
                  <a:cubicBezTo>
                    <a:pt x="243" y="469"/>
                    <a:pt x="216" y="465"/>
                    <a:pt x="207" y="465"/>
                  </a:cubicBezTo>
                  <a:cubicBezTo>
                    <a:pt x="185" y="465"/>
                    <a:pt x="178" y="479"/>
                    <a:pt x="175" y="483"/>
                  </a:cubicBezTo>
                  <a:cubicBezTo>
                    <a:pt x="175" y="467"/>
                    <a:pt x="175" y="467"/>
                    <a:pt x="175" y="467"/>
                  </a:cubicBezTo>
                  <a:cubicBezTo>
                    <a:pt x="157" y="467"/>
                    <a:pt x="157" y="467"/>
                    <a:pt x="157" y="467"/>
                  </a:cubicBezTo>
                  <a:cubicBezTo>
                    <a:pt x="157" y="478"/>
                    <a:pt x="157" y="478"/>
                    <a:pt x="157" y="478"/>
                  </a:cubicBezTo>
                  <a:lnTo>
                    <a:pt x="157" y="565"/>
                  </a:lnTo>
                  <a:close/>
                  <a:moveTo>
                    <a:pt x="274" y="445"/>
                  </a:moveTo>
                  <a:cubicBezTo>
                    <a:pt x="296" y="445"/>
                    <a:pt x="296" y="445"/>
                    <a:pt x="296" y="445"/>
                  </a:cubicBezTo>
                  <a:cubicBezTo>
                    <a:pt x="296" y="424"/>
                    <a:pt x="296" y="424"/>
                    <a:pt x="296" y="424"/>
                  </a:cubicBezTo>
                  <a:cubicBezTo>
                    <a:pt x="274" y="424"/>
                    <a:pt x="274" y="424"/>
                    <a:pt x="274" y="424"/>
                  </a:cubicBezTo>
                  <a:lnTo>
                    <a:pt x="274" y="445"/>
                  </a:lnTo>
                  <a:close/>
                  <a:moveTo>
                    <a:pt x="276" y="565"/>
                  </a:moveTo>
                  <a:cubicBezTo>
                    <a:pt x="295" y="565"/>
                    <a:pt x="295" y="565"/>
                    <a:pt x="295" y="565"/>
                  </a:cubicBezTo>
                  <a:cubicBezTo>
                    <a:pt x="295" y="467"/>
                    <a:pt x="295" y="467"/>
                    <a:pt x="295" y="467"/>
                  </a:cubicBezTo>
                  <a:cubicBezTo>
                    <a:pt x="276" y="467"/>
                    <a:pt x="276" y="467"/>
                    <a:pt x="276" y="467"/>
                  </a:cubicBezTo>
                  <a:lnTo>
                    <a:pt x="276" y="565"/>
                  </a:lnTo>
                  <a:close/>
                  <a:moveTo>
                    <a:pt x="330" y="565"/>
                  </a:moveTo>
                  <a:cubicBezTo>
                    <a:pt x="349" y="565"/>
                    <a:pt x="349" y="565"/>
                    <a:pt x="349" y="565"/>
                  </a:cubicBezTo>
                  <a:cubicBezTo>
                    <a:pt x="349" y="510"/>
                    <a:pt x="349" y="510"/>
                    <a:pt x="349" y="510"/>
                  </a:cubicBezTo>
                  <a:cubicBezTo>
                    <a:pt x="349" y="503"/>
                    <a:pt x="349" y="495"/>
                    <a:pt x="353" y="490"/>
                  </a:cubicBezTo>
                  <a:cubicBezTo>
                    <a:pt x="355" y="487"/>
                    <a:pt x="362" y="479"/>
                    <a:pt x="375" y="479"/>
                  </a:cubicBezTo>
                  <a:cubicBezTo>
                    <a:pt x="389" y="479"/>
                    <a:pt x="396" y="488"/>
                    <a:pt x="396" y="500"/>
                  </a:cubicBezTo>
                  <a:cubicBezTo>
                    <a:pt x="396" y="565"/>
                    <a:pt x="396" y="565"/>
                    <a:pt x="396" y="565"/>
                  </a:cubicBezTo>
                  <a:cubicBezTo>
                    <a:pt x="415" y="565"/>
                    <a:pt x="415" y="565"/>
                    <a:pt x="415" y="565"/>
                  </a:cubicBezTo>
                  <a:cubicBezTo>
                    <a:pt x="415" y="510"/>
                    <a:pt x="415" y="510"/>
                    <a:pt x="415" y="510"/>
                  </a:cubicBezTo>
                  <a:cubicBezTo>
                    <a:pt x="415" y="506"/>
                    <a:pt x="415" y="495"/>
                    <a:pt x="419" y="489"/>
                  </a:cubicBezTo>
                  <a:cubicBezTo>
                    <a:pt x="422" y="486"/>
                    <a:pt x="428" y="479"/>
                    <a:pt x="440" y="479"/>
                  </a:cubicBezTo>
                  <a:cubicBezTo>
                    <a:pt x="449" y="479"/>
                    <a:pt x="456" y="483"/>
                    <a:pt x="459" y="487"/>
                  </a:cubicBezTo>
                  <a:cubicBezTo>
                    <a:pt x="461" y="490"/>
                    <a:pt x="462" y="494"/>
                    <a:pt x="462" y="502"/>
                  </a:cubicBezTo>
                  <a:cubicBezTo>
                    <a:pt x="462" y="565"/>
                    <a:pt x="462" y="565"/>
                    <a:pt x="462" y="565"/>
                  </a:cubicBezTo>
                  <a:cubicBezTo>
                    <a:pt x="481" y="565"/>
                    <a:pt x="481" y="565"/>
                    <a:pt x="481" y="565"/>
                  </a:cubicBezTo>
                  <a:cubicBezTo>
                    <a:pt x="481" y="499"/>
                    <a:pt x="481" y="499"/>
                    <a:pt x="481" y="499"/>
                  </a:cubicBezTo>
                  <a:cubicBezTo>
                    <a:pt x="481" y="471"/>
                    <a:pt x="459" y="465"/>
                    <a:pt x="445" y="465"/>
                  </a:cubicBezTo>
                  <a:cubicBezTo>
                    <a:pt x="423" y="465"/>
                    <a:pt x="415" y="478"/>
                    <a:pt x="412" y="483"/>
                  </a:cubicBezTo>
                  <a:cubicBezTo>
                    <a:pt x="408" y="476"/>
                    <a:pt x="401" y="465"/>
                    <a:pt x="380" y="465"/>
                  </a:cubicBezTo>
                  <a:cubicBezTo>
                    <a:pt x="371" y="465"/>
                    <a:pt x="358" y="466"/>
                    <a:pt x="348" y="481"/>
                  </a:cubicBezTo>
                  <a:cubicBezTo>
                    <a:pt x="348" y="467"/>
                    <a:pt x="348" y="467"/>
                    <a:pt x="348" y="467"/>
                  </a:cubicBezTo>
                  <a:cubicBezTo>
                    <a:pt x="330" y="467"/>
                    <a:pt x="330" y="467"/>
                    <a:pt x="330" y="467"/>
                  </a:cubicBezTo>
                  <a:cubicBezTo>
                    <a:pt x="330" y="480"/>
                    <a:pt x="330" y="480"/>
                    <a:pt x="330" y="480"/>
                  </a:cubicBezTo>
                  <a:cubicBezTo>
                    <a:pt x="330" y="565"/>
                    <a:pt x="330" y="565"/>
                    <a:pt x="330" y="565"/>
                  </a:cubicBezTo>
                  <a:close/>
                  <a:moveTo>
                    <a:pt x="592" y="565"/>
                  </a:moveTo>
                  <a:cubicBezTo>
                    <a:pt x="590" y="555"/>
                    <a:pt x="590" y="542"/>
                    <a:pt x="590" y="541"/>
                  </a:cubicBezTo>
                  <a:cubicBezTo>
                    <a:pt x="591" y="494"/>
                    <a:pt x="591" y="494"/>
                    <a:pt x="591" y="494"/>
                  </a:cubicBezTo>
                  <a:cubicBezTo>
                    <a:pt x="591" y="489"/>
                    <a:pt x="591" y="485"/>
                    <a:pt x="588" y="479"/>
                  </a:cubicBezTo>
                  <a:cubicBezTo>
                    <a:pt x="582" y="469"/>
                    <a:pt x="567" y="464"/>
                    <a:pt x="553" y="464"/>
                  </a:cubicBezTo>
                  <a:cubicBezTo>
                    <a:pt x="542" y="464"/>
                    <a:pt x="529" y="467"/>
                    <a:pt x="521" y="475"/>
                  </a:cubicBezTo>
                  <a:cubicBezTo>
                    <a:pt x="515" y="481"/>
                    <a:pt x="515" y="488"/>
                    <a:pt x="514" y="493"/>
                  </a:cubicBezTo>
                  <a:cubicBezTo>
                    <a:pt x="533" y="493"/>
                    <a:pt x="533" y="493"/>
                    <a:pt x="533" y="493"/>
                  </a:cubicBezTo>
                  <a:cubicBezTo>
                    <a:pt x="533" y="490"/>
                    <a:pt x="534" y="477"/>
                    <a:pt x="553" y="477"/>
                  </a:cubicBezTo>
                  <a:cubicBezTo>
                    <a:pt x="558" y="477"/>
                    <a:pt x="566" y="478"/>
                    <a:pt x="570" y="483"/>
                  </a:cubicBezTo>
                  <a:cubicBezTo>
                    <a:pt x="573" y="488"/>
                    <a:pt x="573" y="493"/>
                    <a:pt x="573" y="505"/>
                  </a:cubicBezTo>
                  <a:cubicBezTo>
                    <a:pt x="567" y="505"/>
                    <a:pt x="564" y="504"/>
                    <a:pt x="560" y="504"/>
                  </a:cubicBezTo>
                  <a:cubicBezTo>
                    <a:pt x="552" y="504"/>
                    <a:pt x="536" y="505"/>
                    <a:pt x="526" y="511"/>
                  </a:cubicBezTo>
                  <a:cubicBezTo>
                    <a:pt x="511" y="519"/>
                    <a:pt x="509" y="532"/>
                    <a:pt x="509" y="540"/>
                  </a:cubicBezTo>
                  <a:cubicBezTo>
                    <a:pt x="509" y="556"/>
                    <a:pt x="521" y="569"/>
                    <a:pt x="543" y="569"/>
                  </a:cubicBezTo>
                  <a:cubicBezTo>
                    <a:pt x="551" y="569"/>
                    <a:pt x="565" y="567"/>
                    <a:pt x="574" y="551"/>
                  </a:cubicBezTo>
                  <a:cubicBezTo>
                    <a:pt x="574" y="556"/>
                    <a:pt x="574" y="561"/>
                    <a:pt x="575" y="565"/>
                  </a:cubicBezTo>
                  <a:lnTo>
                    <a:pt x="592" y="565"/>
                  </a:lnTo>
                  <a:close/>
                  <a:moveTo>
                    <a:pt x="573" y="518"/>
                  </a:moveTo>
                  <a:cubicBezTo>
                    <a:pt x="573" y="531"/>
                    <a:pt x="572" y="537"/>
                    <a:pt x="568" y="544"/>
                  </a:cubicBezTo>
                  <a:cubicBezTo>
                    <a:pt x="564" y="550"/>
                    <a:pt x="557" y="554"/>
                    <a:pt x="547" y="554"/>
                  </a:cubicBezTo>
                  <a:cubicBezTo>
                    <a:pt x="531" y="554"/>
                    <a:pt x="527" y="543"/>
                    <a:pt x="527" y="537"/>
                  </a:cubicBezTo>
                  <a:cubicBezTo>
                    <a:pt x="527" y="517"/>
                    <a:pt x="555" y="517"/>
                    <a:pt x="562" y="517"/>
                  </a:cubicBezTo>
                  <a:cubicBezTo>
                    <a:pt x="567" y="517"/>
                    <a:pt x="570" y="517"/>
                    <a:pt x="573" y="518"/>
                  </a:cubicBezTo>
                  <a:close/>
                  <a:moveTo>
                    <a:pt x="624" y="565"/>
                  </a:moveTo>
                  <a:cubicBezTo>
                    <a:pt x="643" y="565"/>
                    <a:pt x="643" y="565"/>
                    <a:pt x="643" y="565"/>
                  </a:cubicBezTo>
                  <a:cubicBezTo>
                    <a:pt x="643" y="424"/>
                    <a:pt x="643" y="424"/>
                    <a:pt x="643" y="424"/>
                  </a:cubicBezTo>
                  <a:cubicBezTo>
                    <a:pt x="624" y="424"/>
                    <a:pt x="624" y="424"/>
                    <a:pt x="624" y="424"/>
                  </a:cubicBezTo>
                  <a:lnTo>
                    <a:pt x="624" y="565"/>
                  </a:lnTo>
                  <a:close/>
                  <a:moveTo>
                    <a:pt x="733" y="424"/>
                  </a:moveTo>
                  <a:cubicBezTo>
                    <a:pt x="733" y="565"/>
                    <a:pt x="733" y="565"/>
                    <a:pt x="733" y="565"/>
                  </a:cubicBezTo>
                  <a:cubicBezTo>
                    <a:pt x="753" y="565"/>
                    <a:pt x="753" y="565"/>
                    <a:pt x="753" y="565"/>
                  </a:cubicBezTo>
                  <a:cubicBezTo>
                    <a:pt x="753" y="502"/>
                    <a:pt x="753" y="502"/>
                    <a:pt x="753" y="502"/>
                  </a:cubicBezTo>
                  <a:cubicBezTo>
                    <a:pt x="820" y="502"/>
                    <a:pt x="820" y="502"/>
                    <a:pt x="820" y="502"/>
                  </a:cubicBezTo>
                  <a:cubicBezTo>
                    <a:pt x="820" y="565"/>
                    <a:pt x="820" y="565"/>
                    <a:pt x="820" y="565"/>
                  </a:cubicBezTo>
                  <a:cubicBezTo>
                    <a:pt x="839" y="565"/>
                    <a:pt x="839" y="565"/>
                    <a:pt x="839" y="565"/>
                  </a:cubicBezTo>
                  <a:cubicBezTo>
                    <a:pt x="839" y="424"/>
                    <a:pt x="839" y="424"/>
                    <a:pt x="839" y="424"/>
                  </a:cubicBezTo>
                  <a:cubicBezTo>
                    <a:pt x="820" y="424"/>
                    <a:pt x="820" y="424"/>
                    <a:pt x="820" y="424"/>
                  </a:cubicBezTo>
                  <a:cubicBezTo>
                    <a:pt x="820" y="485"/>
                    <a:pt x="820" y="485"/>
                    <a:pt x="820" y="485"/>
                  </a:cubicBezTo>
                  <a:cubicBezTo>
                    <a:pt x="753" y="485"/>
                    <a:pt x="753" y="485"/>
                    <a:pt x="753" y="485"/>
                  </a:cubicBezTo>
                  <a:cubicBezTo>
                    <a:pt x="753" y="424"/>
                    <a:pt x="753" y="424"/>
                    <a:pt x="753" y="424"/>
                  </a:cubicBezTo>
                  <a:lnTo>
                    <a:pt x="733" y="424"/>
                  </a:lnTo>
                  <a:close/>
                  <a:moveTo>
                    <a:pt x="956" y="520"/>
                  </a:moveTo>
                  <a:cubicBezTo>
                    <a:pt x="957" y="503"/>
                    <a:pt x="957" y="465"/>
                    <a:pt x="913" y="465"/>
                  </a:cubicBezTo>
                  <a:cubicBezTo>
                    <a:pt x="908" y="465"/>
                    <a:pt x="896" y="465"/>
                    <a:pt x="887" y="472"/>
                  </a:cubicBezTo>
                  <a:cubicBezTo>
                    <a:pt x="871" y="483"/>
                    <a:pt x="867" y="499"/>
                    <a:pt x="867" y="518"/>
                  </a:cubicBezTo>
                  <a:cubicBezTo>
                    <a:pt x="867" y="549"/>
                    <a:pt x="882" y="568"/>
                    <a:pt x="913" y="568"/>
                  </a:cubicBezTo>
                  <a:cubicBezTo>
                    <a:pt x="933" y="568"/>
                    <a:pt x="942" y="560"/>
                    <a:pt x="947" y="555"/>
                  </a:cubicBezTo>
                  <a:cubicBezTo>
                    <a:pt x="954" y="547"/>
                    <a:pt x="955" y="539"/>
                    <a:pt x="955" y="535"/>
                  </a:cubicBezTo>
                  <a:cubicBezTo>
                    <a:pt x="937" y="535"/>
                    <a:pt x="937" y="535"/>
                    <a:pt x="937" y="535"/>
                  </a:cubicBezTo>
                  <a:cubicBezTo>
                    <a:pt x="935" y="549"/>
                    <a:pt x="926" y="555"/>
                    <a:pt x="914" y="555"/>
                  </a:cubicBezTo>
                  <a:cubicBezTo>
                    <a:pt x="893" y="555"/>
                    <a:pt x="885" y="540"/>
                    <a:pt x="885" y="519"/>
                  </a:cubicBezTo>
                  <a:cubicBezTo>
                    <a:pt x="956" y="519"/>
                    <a:pt x="956" y="519"/>
                    <a:pt x="956" y="519"/>
                  </a:cubicBezTo>
                  <a:lnTo>
                    <a:pt x="956" y="520"/>
                  </a:lnTo>
                  <a:close/>
                  <a:moveTo>
                    <a:pt x="886" y="507"/>
                  </a:moveTo>
                  <a:cubicBezTo>
                    <a:pt x="887" y="485"/>
                    <a:pt x="901" y="478"/>
                    <a:pt x="913" y="478"/>
                  </a:cubicBezTo>
                  <a:cubicBezTo>
                    <a:pt x="936" y="478"/>
                    <a:pt x="937" y="497"/>
                    <a:pt x="937" y="507"/>
                  </a:cubicBezTo>
                  <a:lnTo>
                    <a:pt x="886" y="507"/>
                  </a:lnTo>
                  <a:close/>
                  <a:moveTo>
                    <a:pt x="1060" y="565"/>
                  </a:moveTo>
                  <a:cubicBezTo>
                    <a:pt x="1058" y="555"/>
                    <a:pt x="1058" y="542"/>
                    <a:pt x="1058" y="541"/>
                  </a:cubicBezTo>
                  <a:cubicBezTo>
                    <a:pt x="1059" y="494"/>
                    <a:pt x="1059" y="494"/>
                    <a:pt x="1059" y="494"/>
                  </a:cubicBezTo>
                  <a:cubicBezTo>
                    <a:pt x="1059" y="489"/>
                    <a:pt x="1059" y="485"/>
                    <a:pt x="1056" y="479"/>
                  </a:cubicBezTo>
                  <a:cubicBezTo>
                    <a:pt x="1050" y="469"/>
                    <a:pt x="1035" y="464"/>
                    <a:pt x="1021" y="464"/>
                  </a:cubicBezTo>
                  <a:cubicBezTo>
                    <a:pt x="1010" y="464"/>
                    <a:pt x="997" y="467"/>
                    <a:pt x="989" y="475"/>
                  </a:cubicBezTo>
                  <a:cubicBezTo>
                    <a:pt x="983" y="481"/>
                    <a:pt x="983" y="488"/>
                    <a:pt x="982" y="493"/>
                  </a:cubicBezTo>
                  <a:cubicBezTo>
                    <a:pt x="1001" y="493"/>
                    <a:pt x="1001" y="493"/>
                    <a:pt x="1001" y="493"/>
                  </a:cubicBezTo>
                  <a:cubicBezTo>
                    <a:pt x="1001" y="490"/>
                    <a:pt x="1002" y="477"/>
                    <a:pt x="1020" y="477"/>
                  </a:cubicBezTo>
                  <a:cubicBezTo>
                    <a:pt x="1026" y="477"/>
                    <a:pt x="1034" y="478"/>
                    <a:pt x="1038" y="483"/>
                  </a:cubicBezTo>
                  <a:cubicBezTo>
                    <a:pt x="1041" y="488"/>
                    <a:pt x="1041" y="493"/>
                    <a:pt x="1041" y="505"/>
                  </a:cubicBezTo>
                  <a:cubicBezTo>
                    <a:pt x="1035" y="505"/>
                    <a:pt x="1032" y="504"/>
                    <a:pt x="1028" y="504"/>
                  </a:cubicBezTo>
                  <a:cubicBezTo>
                    <a:pt x="1020" y="504"/>
                    <a:pt x="1004" y="505"/>
                    <a:pt x="994" y="511"/>
                  </a:cubicBezTo>
                  <a:cubicBezTo>
                    <a:pt x="979" y="519"/>
                    <a:pt x="976" y="532"/>
                    <a:pt x="976" y="540"/>
                  </a:cubicBezTo>
                  <a:cubicBezTo>
                    <a:pt x="976" y="556"/>
                    <a:pt x="989" y="569"/>
                    <a:pt x="1011" y="569"/>
                  </a:cubicBezTo>
                  <a:cubicBezTo>
                    <a:pt x="1019" y="569"/>
                    <a:pt x="1033" y="567"/>
                    <a:pt x="1041" y="551"/>
                  </a:cubicBezTo>
                  <a:cubicBezTo>
                    <a:pt x="1041" y="556"/>
                    <a:pt x="1042" y="561"/>
                    <a:pt x="1043" y="565"/>
                  </a:cubicBezTo>
                  <a:lnTo>
                    <a:pt x="1060" y="565"/>
                  </a:lnTo>
                  <a:close/>
                  <a:moveTo>
                    <a:pt x="1041" y="518"/>
                  </a:moveTo>
                  <a:cubicBezTo>
                    <a:pt x="1040" y="531"/>
                    <a:pt x="1040" y="537"/>
                    <a:pt x="1036" y="544"/>
                  </a:cubicBezTo>
                  <a:cubicBezTo>
                    <a:pt x="1032" y="550"/>
                    <a:pt x="1025" y="554"/>
                    <a:pt x="1015" y="554"/>
                  </a:cubicBezTo>
                  <a:cubicBezTo>
                    <a:pt x="999" y="554"/>
                    <a:pt x="995" y="543"/>
                    <a:pt x="995" y="537"/>
                  </a:cubicBezTo>
                  <a:cubicBezTo>
                    <a:pt x="995" y="517"/>
                    <a:pt x="1023" y="517"/>
                    <a:pt x="1030" y="517"/>
                  </a:cubicBezTo>
                  <a:cubicBezTo>
                    <a:pt x="1035" y="517"/>
                    <a:pt x="1038" y="517"/>
                    <a:pt x="1041" y="518"/>
                  </a:cubicBezTo>
                  <a:close/>
                  <a:moveTo>
                    <a:pt x="1090" y="565"/>
                  </a:moveTo>
                  <a:cubicBezTo>
                    <a:pt x="1109" y="565"/>
                    <a:pt x="1109" y="565"/>
                    <a:pt x="1109" y="565"/>
                  </a:cubicBezTo>
                  <a:cubicBezTo>
                    <a:pt x="1109" y="424"/>
                    <a:pt x="1109" y="424"/>
                    <a:pt x="1109" y="424"/>
                  </a:cubicBezTo>
                  <a:cubicBezTo>
                    <a:pt x="1090" y="424"/>
                    <a:pt x="1090" y="424"/>
                    <a:pt x="1090" y="424"/>
                  </a:cubicBezTo>
                  <a:lnTo>
                    <a:pt x="1090" y="565"/>
                  </a:lnTo>
                  <a:close/>
                  <a:moveTo>
                    <a:pt x="1127" y="480"/>
                  </a:moveTo>
                  <a:cubicBezTo>
                    <a:pt x="1144" y="480"/>
                    <a:pt x="1144" y="480"/>
                    <a:pt x="1144" y="480"/>
                  </a:cubicBezTo>
                  <a:cubicBezTo>
                    <a:pt x="1144" y="546"/>
                    <a:pt x="1144" y="546"/>
                    <a:pt x="1144" y="546"/>
                  </a:cubicBezTo>
                  <a:cubicBezTo>
                    <a:pt x="1144" y="562"/>
                    <a:pt x="1152" y="567"/>
                    <a:pt x="1169" y="567"/>
                  </a:cubicBezTo>
                  <a:cubicBezTo>
                    <a:pt x="1176" y="567"/>
                    <a:pt x="1181" y="566"/>
                    <a:pt x="1184" y="566"/>
                  </a:cubicBezTo>
                  <a:cubicBezTo>
                    <a:pt x="1184" y="551"/>
                    <a:pt x="1184" y="551"/>
                    <a:pt x="1184" y="551"/>
                  </a:cubicBezTo>
                  <a:cubicBezTo>
                    <a:pt x="1183" y="552"/>
                    <a:pt x="1179" y="552"/>
                    <a:pt x="1175" y="552"/>
                  </a:cubicBezTo>
                  <a:cubicBezTo>
                    <a:pt x="1162" y="552"/>
                    <a:pt x="1162" y="544"/>
                    <a:pt x="1162" y="539"/>
                  </a:cubicBezTo>
                  <a:cubicBezTo>
                    <a:pt x="1162" y="480"/>
                    <a:pt x="1162" y="480"/>
                    <a:pt x="1162" y="480"/>
                  </a:cubicBezTo>
                  <a:cubicBezTo>
                    <a:pt x="1184" y="480"/>
                    <a:pt x="1184" y="480"/>
                    <a:pt x="1184" y="480"/>
                  </a:cubicBezTo>
                  <a:cubicBezTo>
                    <a:pt x="1184" y="467"/>
                    <a:pt x="1184" y="467"/>
                    <a:pt x="1184" y="467"/>
                  </a:cubicBezTo>
                  <a:cubicBezTo>
                    <a:pt x="1162" y="467"/>
                    <a:pt x="1162" y="467"/>
                    <a:pt x="1162" y="467"/>
                  </a:cubicBezTo>
                  <a:cubicBezTo>
                    <a:pt x="1162" y="440"/>
                    <a:pt x="1162" y="440"/>
                    <a:pt x="1162" y="440"/>
                  </a:cubicBezTo>
                  <a:cubicBezTo>
                    <a:pt x="1144" y="446"/>
                    <a:pt x="1144" y="446"/>
                    <a:pt x="1144" y="446"/>
                  </a:cubicBezTo>
                  <a:cubicBezTo>
                    <a:pt x="1144" y="467"/>
                    <a:pt x="1144" y="467"/>
                    <a:pt x="1144" y="467"/>
                  </a:cubicBezTo>
                  <a:cubicBezTo>
                    <a:pt x="1127" y="467"/>
                    <a:pt x="1127" y="467"/>
                    <a:pt x="1127" y="467"/>
                  </a:cubicBezTo>
                  <a:cubicBezTo>
                    <a:pt x="1127" y="480"/>
                    <a:pt x="1127" y="480"/>
                    <a:pt x="1127" y="480"/>
                  </a:cubicBezTo>
                  <a:close/>
                  <a:moveTo>
                    <a:pt x="1207" y="565"/>
                  </a:moveTo>
                  <a:cubicBezTo>
                    <a:pt x="1225" y="565"/>
                    <a:pt x="1225" y="565"/>
                    <a:pt x="1225" y="565"/>
                  </a:cubicBezTo>
                  <a:cubicBezTo>
                    <a:pt x="1225" y="513"/>
                    <a:pt x="1225" y="513"/>
                    <a:pt x="1225" y="513"/>
                  </a:cubicBezTo>
                  <a:cubicBezTo>
                    <a:pt x="1225" y="507"/>
                    <a:pt x="1225" y="498"/>
                    <a:pt x="1229" y="493"/>
                  </a:cubicBezTo>
                  <a:cubicBezTo>
                    <a:pt x="1231" y="488"/>
                    <a:pt x="1238" y="479"/>
                    <a:pt x="1252" y="479"/>
                  </a:cubicBezTo>
                  <a:cubicBezTo>
                    <a:pt x="1273" y="479"/>
                    <a:pt x="1273" y="498"/>
                    <a:pt x="1273" y="507"/>
                  </a:cubicBezTo>
                  <a:cubicBezTo>
                    <a:pt x="1273" y="565"/>
                    <a:pt x="1273" y="565"/>
                    <a:pt x="1273" y="565"/>
                  </a:cubicBezTo>
                  <a:cubicBezTo>
                    <a:pt x="1292" y="565"/>
                    <a:pt x="1292" y="565"/>
                    <a:pt x="1292" y="565"/>
                  </a:cubicBezTo>
                  <a:cubicBezTo>
                    <a:pt x="1292" y="504"/>
                    <a:pt x="1292" y="504"/>
                    <a:pt x="1292" y="504"/>
                  </a:cubicBezTo>
                  <a:cubicBezTo>
                    <a:pt x="1292" y="490"/>
                    <a:pt x="1290" y="485"/>
                    <a:pt x="1288" y="481"/>
                  </a:cubicBezTo>
                  <a:cubicBezTo>
                    <a:pt x="1283" y="469"/>
                    <a:pt x="1268" y="465"/>
                    <a:pt x="1257" y="465"/>
                  </a:cubicBezTo>
                  <a:cubicBezTo>
                    <a:pt x="1244" y="465"/>
                    <a:pt x="1231" y="471"/>
                    <a:pt x="1225" y="481"/>
                  </a:cubicBezTo>
                  <a:cubicBezTo>
                    <a:pt x="1225" y="424"/>
                    <a:pt x="1225" y="424"/>
                    <a:pt x="1225" y="424"/>
                  </a:cubicBezTo>
                  <a:cubicBezTo>
                    <a:pt x="1207" y="424"/>
                    <a:pt x="1207" y="424"/>
                    <a:pt x="1207" y="424"/>
                  </a:cubicBezTo>
                  <a:lnTo>
                    <a:pt x="1207" y="5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15850554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CFF5F-63CC-2A15-B3BB-7F8260ABF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1C608D-7922-2A3D-6C35-B2D30B539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A58369-0650-6B70-4E6E-043A65FF1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5E3A6-B5E8-88A1-208D-CC89CE8CB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109033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0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0" y="3780000"/>
            <a:ext cx="4932729" cy="16799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 b="0"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EEF6460A-0D6A-4327-B2BE-0C9712B6A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49D3C08-5CC1-4098-8B8E-914BB34B61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CD1EA3F-E357-4AD9-9CE2-D1FD206A90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27474" y="1800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0447BAF-8359-4A21-89C7-6B2FF2FBD7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0000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00F93BD-FB5F-4CF5-8A8E-48893055A0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27474" y="23706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F4393C47-4AA9-48E1-B379-92891715B0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DB0B40F-9F70-4D1C-A539-9021055EF9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27474" y="4561200"/>
            <a:ext cx="2725200" cy="211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0961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475913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2FACF5-A60D-44FC-A578-FD005792C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8"/>
            <a:ext cx="11436350" cy="4132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CF0EDF8-70EE-48D9-BC00-8ECC4C3E91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AE54F31-A459-45A8-8793-1231D5D50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E19AE28E-18ED-4F7E-8BC9-25B15178A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24CCEEB-D1E2-42A2-BED8-D6E0A60FB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5BBB056-F774-42EA-9AAF-47B8BE447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DECFA587-5E42-4907-BC85-54B69F65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0595759A-C48D-409F-A12F-7E979D2B9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2C11BDC2-A968-4427-A7B3-18BD22B96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374326E-DD07-4820-90BA-96AA77F88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CC8A0120-B04B-4132-89E2-303ABF734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7675BAB1-5BE7-47BF-9F8C-6298FB365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896517E2-0017-4D99-820F-53FC38BE64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4ECE332C-0539-442F-8081-DDF75E784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A613FD56-5B4E-481E-A55E-AD0D383EA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364E0E52-80F0-431E-9BB8-5E0B7840A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19">
              <a:extLst>
                <a:ext uri="{FF2B5EF4-FFF2-40B4-BE49-F238E27FC236}">
                  <a16:creationId xmlns:a16="http://schemas.microsoft.com/office/drawing/2014/main" id="{55C59599-A7A9-411D-8AE4-865A74073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1F1C63D3-BA5E-4520-B212-61468C533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9894915A-1036-4DFE-991A-055851539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C0FBC5C-AF83-4BE4-8F7D-33FCEA96E41A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450047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455A7-73F3-EBE4-58B9-E016E4749E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21F8CF-1AA2-E7CB-EE0C-880605453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74EEC-A2AF-A5BC-AFF0-BCB26B3EC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7EDC3-742A-48AB-B086-D8E8DDC01358}" type="datetimeFigureOut">
              <a:rPr lang="en-US" smtClean="0"/>
              <a:t>11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73152-A9C4-71A0-0563-FFA041F6D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3F635-AAE3-CDE7-CB44-F63422F50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6FF3A3-D68A-46F0-A258-DE834A1C652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8714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98882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H Strategic Frame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0C1C7D-9AC0-4E4D-95C9-FEC944F2E2A1}"/>
              </a:ext>
            </a:extLst>
          </p:cNvPr>
          <p:cNvSpPr/>
          <p:nvPr userDrawn="1"/>
        </p:nvSpPr>
        <p:spPr>
          <a:xfrm>
            <a:off x="0" y="6089560"/>
            <a:ext cx="12192000" cy="768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5B7DD4-D832-164C-98B0-1C62BFFDF22E}"/>
              </a:ext>
            </a:extLst>
          </p:cNvPr>
          <p:cNvSpPr/>
          <p:nvPr userDrawn="1"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5C6EF-87B7-8D47-A6DD-6D63EDD2E655}"/>
              </a:ext>
            </a:extLst>
          </p:cNvPr>
          <p:cNvSpPr txBox="1"/>
          <p:nvPr userDrawn="1"/>
        </p:nvSpPr>
        <p:spPr>
          <a:xfrm>
            <a:off x="2853823" y="6096001"/>
            <a:ext cx="7028114" cy="761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7" rIns="91414" bIns="457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228521">
              <a:defRPr/>
            </a:pPr>
            <a: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  <a:t>We operate responsibly every day to enable </a:t>
            </a:r>
            <a:b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</a:br>
            <a:r>
              <a:rPr lang="en-US" sz="1200">
                <a:solidFill>
                  <a:srgbClr val="FFFFFF"/>
                </a:solidFill>
                <a:latin typeface="Invention" panose="020B0503020008020204" pitchFamily="34" charset="0"/>
              </a:rPr>
              <a:t>a safe, sustainable, and healthy future.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F789F2-1D96-4196-9893-98DE29098D24}"/>
              </a:ext>
            </a:extLst>
          </p:cNvPr>
          <p:cNvSpPr txBox="1"/>
          <p:nvPr userDrawn="1"/>
        </p:nvSpPr>
        <p:spPr>
          <a:xfrm>
            <a:off x="9187194" y="6508377"/>
            <a:ext cx="3004807" cy="2366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For internal use only. Do not share externally. </a:t>
            </a:r>
          </a:p>
          <a:p>
            <a:pPr algn="l"/>
            <a:endParaRPr lang="en-US" sz="105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9BAFF8B7-8864-462D-A7A0-95CD44A1217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6459" y="6259396"/>
            <a:ext cx="1040860" cy="367282"/>
            <a:chOff x="0" y="805"/>
            <a:chExt cx="7680" cy="2710"/>
          </a:xfrm>
          <a:solidFill>
            <a:schemeClr val="bg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C1AFF7A2-3C70-40E3-A579-D14A51EF9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805"/>
              <a:ext cx="2238" cy="2241"/>
            </a:xfrm>
            <a:custGeom>
              <a:avLst/>
              <a:gdLst>
                <a:gd name="T0" fmla="*/ 146 w 587"/>
                <a:gd name="T1" fmla="*/ 147 h 587"/>
                <a:gd name="T2" fmla="*/ 293 w 587"/>
                <a:gd name="T3" fmla="*/ 0 h 587"/>
                <a:gd name="T4" fmla="*/ 440 w 587"/>
                <a:gd name="T5" fmla="*/ 147 h 587"/>
                <a:gd name="T6" fmla="*/ 146 w 587"/>
                <a:gd name="T7" fmla="*/ 147 h 587"/>
                <a:gd name="T8" fmla="*/ 146 w 587"/>
                <a:gd name="T9" fmla="*/ 441 h 587"/>
                <a:gd name="T10" fmla="*/ 293 w 587"/>
                <a:gd name="T11" fmla="*/ 587 h 587"/>
                <a:gd name="T12" fmla="*/ 440 w 587"/>
                <a:gd name="T13" fmla="*/ 441 h 587"/>
                <a:gd name="T14" fmla="*/ 146 w 587"/>
                <a:gd name="T15" fmla="*/ 441 h 587"/>
                <a:gd name="T16" fmla="*/ 279 w 587"/>
                <a:gd name="T17" fmla="*/ 293 h 587"/>
                <a:gd name="T18" fmla="*/ 146 w 587"/>
                <a:gd name="T19" fmla="*/ 147 h 587"/>
                <a:gd name="T20" fmla="*/ 0 w 587"/>
                <a:gd name="T21" fmla="*/ 294 h 587"/>
                <a:gd name="T22" fmla="*/ 146 w 587"/>
                <a:gd name="T23" fmla="*/ 441 h 587"/>
                <a:gd name="T24" fmla="*/ 279 w 587"/>
                <a:gd name="T25" fmla="*/ 294 h 587"/>
                <a:gd name="T26" fmla="*/ 279 w 587"/>
                <a:gd name="T27" fmla="*/ 293 h 587"/>
                <a:gd name="T28" fmla="*/ 307 w 587"/>
                <a:gd name="T29" fmla="*/ 294 h 587"/>
                <a:gd name="T30" fmla="*/ 440 w 587"/>
                <a:gd name="T31" fmla="*/ 441 h 587"/>
                <a:gd name="T32" fmla="*/ 587 w 587"/>
                <a:gd name="T33" fmla="*/ 294 h 587"/>
                <a:gd name="T34" fmla="*/ 440 w 587"/>
                <a:gd name="T35" fmla="*/ 147 h 587"/>
                <a:gd name="T36" fmla="*/ 307 w 587"/>
                <a:gd name="T37" fmla="*/ 293 h 587"/>
                <a:gd name="T38" fmla="*/ 307 w 587"/>
                <a:gd name="T39" fmla="*/ 294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7" h="587">
                  <a:moveTo>
                    <a:pt x="146" y="147"/>
                  </a:moveTo>
                  <a:cubicBezTo>
                    <a:pt x="146" y="66"/>
                    <a:pt x="212" y="0"/>
                    <a:pt x="293" y="0"/>
                  </a:cubicBezTo>
                  <a:cubicBezTo>
                    <a:pt x="374" y="0"/>
                    <a:pt x="440" y="66"/>
                    <a:pt x="440" y="147"/>
                  </a:cubicBezTo>
                  <a:cubicBezTo>
                    <a:pt x="146" y="147"/>
                    <a:pt x="146" y="147"/>
                    <a:pt x="146" y="147"/>
                  </a:cubicBezTo>
                  <a:moveTo>
                    <a:pt x="146" y="441"/>
                  </a:moveTo>
                  <a:cubicBezTo>
                    <a:pt x="146" y="522"/>
                    <a:pt x="212" y="587"/>
                    <a:pt x="293" y="587"/>
                  </a:cubicBezTo>
                  <a:cubicBezTo>
                    <a:pt x="374" y="587"/>
                    <a:pt x="440" y="522"/>
                    <a:pt x="440" y="441"/>
                  </a:cubicBezTo>
                  <a:lnTo>
                    <a:pt x="146" y="441"/>
                  </a:lnTo>
                  <a:close/>
                  <a:moveTo>
                    <a:pt x="279" y="293"/>
                  </a:moveTo>
                  <a:cubicBezTo>
                    <a:pt x="205" y="286"/>
                    <a:pt x="146" y="223"/>
                    <a:pt x="146" y="147"/>
                  </a:cubicBezTo>
                  <a:cubicBezTo>
                    <a:pt x="65" y="147"/>
                    <a:pt x="0" y="213"/>
                    <a:pt x="0" y="294"/>
                  </a:cubicBezTo>
                  <a:cubicBezTo>
                    <a:pt x="0" y="375"/>
                    <a:pt x="65" y="441"/>
                    <a:pt x="146" y="441"/>
                  </a:cubicBezTo>
                  <a:cubicBezTo>
                    <a:pt x="146" y="364"/>
                    <a:pt x="205" y="301"/>
                    <a:pt x="279" y="294"/>
                  </a:cubicBezTo>
                  <a:lnTo>
                    <a:pt x="279" y="293"/>
                  </a:lnTo>
                  <a:close/>
                  <a:moveTo>
                    <a:pt x="307" y="294"/>
                  </a:moveTo>
                  <a:cubicBezTo>
                    <a:pt x="382" y="301"/>
                    <a:pt x="440" y="364"/>
                    <a:pt x="440" y="441"/>
                  </a:cubicBezTo>
                  <a:cubicBezTo>
                    <a:pt x="521" y="441"/>
                    <a:pt x="587" y="375"/>
                    <a:pt x="587" y="294"/>
                  </a:cubicBezTo>
                  <a:cubicBezTo>
                    <a:pt x="587" y="213"/>
                    <a:pt x="521" y="147"/>
                    <a:pt x="440" y="147"/>
                  </a:cubicBezTo>
                  <a:cubicBezTo>
                    <a:pt x="440" y="223"/>
                    <a:pt x="382" y="286"/>
                    <a:pt x="307" y="293"/>
                  </a:cubicBezTo>
                  <a:cubicBezTo>
                    <a:pt x="307" y="294"/>
                    <a:pt x="307" y="294"/>
                    <a:pt x="307" y="2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DB21658-22B4-46A7-8BE5-A4C6124A6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" y="1343"/>
              <a:ext cx="4927" cy="2172"/>
            </a:xfrm>
            <a:custGeom>
              <a:avLst/>
              <a:gdLst>
                <a:gd name="T0" fmla="*/ 1105 w 1292"/>
                <a:gd name="T1" fmla="*/ 6 h 569"/>
                <a:gd name="T2" fmla="*/ 774 w 1292"/>
                <a:gd name="T3" fmla="*/ 158 h 569"/>
                <a:gd name="T4" fmla="*/ 938 w 1292"/>
                <a:gd name="T5" fmla="*/ 255 h 569"/>
                <a:gd name="T6" fmla="*/ 1011 w 1292"/>
                <a:gd name="T7" fmla="*/ 18 h 569"/>
                <a:gd name="T8" fmla="*/ 352 w 1292"/>
                <a:gd name="T9" fmla="*/ 302 h 569"/>
                <a:gd name="T10" fmla="*/ 418 w 1292"/>
                <a:gd name="T11" fmla="*/ 177 h 569"/>
                <a:gd name="T12" fmla="*/ 418 w 1292"/>
                <a:gd name="T13" fmla="*/ 58 h 569"/>
                <a:gd name="T14" fmla="*/ 1291 w 1292"/>
                <a:gd name="T15" fmla="*/ 301 h 569"/>
                <a:gd name="T16" fmla="*/ 1107 w 1292"/>
                <a:gd name="T17" fmla="*/ 140 h 569"/>
                <a:gd name="T18" fmla="*/ 655 w 1292"/>
                <a:gd name="T19" fmla="*/ 140 h 569"/>
                <a:gd name="T20" fmla="*/ 620 w 1292"/>
                <a:gd name="T21" fmla="*/ 140 h 569"/>
                <a:gd name="T22" fmla="*/ 764 w 1292"/>
                <a:gd name="T23" fmla="*/ 94 h 569"/>
                <a:gd name="T24" fmla="*/ 618 w 1292"/>
                <a:gd name="T25" fmla="*/ 302 h 569"/>
                <a:gd name="T26" fmla="*/ 255 w 1292"/>
                <a:gd name="T27" fmla="*/ 302 h 569"/>
                <a:gd name="T28" fmla="*/ 164 w 1292"/>
                <a:gd name="T29" fmla="*/ 157 h 569"/>
                <a:gd name="T30" fmla="*/ 72 w 1292"/>
                <a:gd name="T31" fmla="*/ 302 h 569"/>
                <a:gd name="T32" fmla="*/ 20 w 1292"/>
                <a:gd name="T33" fmla="*/ 565 h 569"/>
                <a:gd name="T34" fmla="*/ 137 w 1292"/>
                <a:gd name="T35" fmla="*/ 565 h 569"/>
                <a:gd name="T36" fmla="*/ 69 w 1292"/>
                <a:gd name="T37" fmla="*/ 443 h 569"/>
                <a:gd name="T38" fmla="*/ 157 w 1292"/>
                <a:gd name="T39" fmla="*/ 565 h 569"/>
                <a:gd name="T40" fmla="*/ 219 w 1292"/>
                <a:gd name="T41" fmla="*/ 486 h 569"/>
                <a:gd name="T42" fmla="*/ 243 w 1292"/>
                <a:gd name="T43" fmla="*/ 499 h 569"/>
                <a:gd name="T44" fmla="*/ 157 w 1292"/>
                <a:gd name="T45" fmla="*/ 467 h 569"/>
                <a:gd name="T46" fmla="*/ 296 w 1292"/>
                <a:gd name="T47" fmla="*/ 445 h 569"/>
                <a:gd name="T48" fmla="*/ 276 w 1292"/>
                <a:gd name="T49" fmla="*/ 565 h 569"/>
                <a:gd name="T50" fmla="*/ 276 w 1292"/>
                <a:gd name="T51" fmla="*/ 565 h 569"/>
                <a:gd name="T52" fmla="*/ 353 w 1292"/>
                <a:gd name="T53" fmla="*/ 490 h 569"/>
                <a:gd name="T54" fmla="*/ 415 w 1292"/>
                <a:gd name="T55" fmla="*/ 565 h 569"/>
                <a:gd name="T56" fmla="*/ 459 w 1292"/>
                <a:gd name="T57" fmla="*/ 487 h 569"/>
                <a:gd name="T58" fmla="*/ 481 w 1292"/>
                <a:gd name="T59" fmla="*/ 499 h 569"/>
                <a:gd name="T60" fmla="*/ 348 w 1292"/>
                <a:gd name="T61" fmla="*/ 481 h 569"/>
                <a:gd name="T62" fmla="*/ 330 w 1292"/>
                <a:gd name="T63" fmla="*/ 565 h 569"/>
                <a:gd name="T64" fmla="*/ 588 w 1292"/>
                <a:gd name="T65" fmla="*/ 479 h 569"/>
                <a:gd name="T66" fmla="*/ 533 w 1292"/>
                <a:gd name="T67" fmla="*/ 493 h 569"/>
                <a:gd name="T68" fmla="*/ 560 w 1292"/>
                <a:gd name="T69" fmla="*/ 504 h 569"/>
                <a:gd name="T70" fmla="*/ 574 w 1292"/>
                <a:gd name="T71" fmla="*/ 551 h 569"/>
                <a:gd name="T72" fmla="*/ 568 w 1292"/>
                <a:gd name="T73" fmla="*/ 544 h 569"/>
                <a:gd name="T74" fmla="*/ 573 w 1292"/>
                <a:gd name="T75" fmla="*/ 518 h 569"/>
                <a:gd name="T76" fmla="*/ 624 w 1292"/>
                <a:gd name="T77" fmla="*/ 424 h 569"/>
                <a:gd name="T78" fmla="*/ 753 w 1292"/>
                <a:gd name="T79" fmla="*/ 565 h 569"/>
                <a:gd name="T80" fmla="*/ 839 w 1292"/>
                <a:gd name="T81" fmla="*/ 565 h 569"/>
                <a:gd name="T82" fmla="*/ 753 w 1292"/>
                <a:gd name="T83" fmla="*/ 485 h 569"/>
                <a:gd name="T84" fmla="*/ 913 w 1292"/>
                <a:gd name="T85" fmla="*/ 465 h 569"/>
                <a:gd name="T86" fmla="*/ 947 w 1292"/>
                <a:gd name="T87" fmla="*/ 555 h 569"/>
                <a:gd name="T88" fmla="*/ 885 w 1292"/>
                <a:gd name="T89" fmla="*/ 519 h 569"/>
                <a:gd name="T90" fmla="*/ 913 w 1292"/>
                <a:gd name="T91" fmla="*/ 478 h 569"/>
                <a:gd name="T92" fmla="*/ 1058 w 1292"/>
                <a:gd name="T93" fmla="*/ 541 h 569"/>
                <a:gd name="T94" fmla="*/ 989 w 1292"/>
                <a:gd name="T95" fmla="*/ 475 h 569"/>
                <a:gd name="T96" fmla="*/ 1038 w 1292"/>
                <a:gd name="T97" fmla="*/ 483 h 569"/>
                <a:gd name="T98" fmla="*/ 976 w 1292"/>
                <a:gd name="T99" fmla="*/ 540 h 569"/>
                <a:gd name="T100" fmla="*/ 1060 w 1292"/>
                <a:gd name="T101" fmla="*/ 565 h 569"/>
                <a:gd name="T102" fmla="*/ 995 w 1292"/>
                <a:gd name="T103" fmla="*/ 537 h 569"/>
                <a:gd name="T104" fmla="*/ 1109 w 1292"/>
                <a:gd name="T105" fmla="*/ 565 h 569"/>
                <a:gd name="T106" fmla="*/ 1127 w 1292"/>
                <a:gd name="T107" fmla="*/ 480 h 569"/>
                <a:gd name="T108" fmla="*/ 1184 w 1292"/>
                <a:gd name="T109" fmla="*/ 566 h 569"/>
                <a:gd name="T110" fmla="*/ 1162 w 1292"/>
                <a:gd name="T111" fmla="*/ 480 h 569"/>
                <a:gd name="T112" fmla="*/ 1162 w 1292"/>
                <a:gd name="T113" fmla="*/ 440 h 569"/>
                <a:gd name="T114" fmla="*/ 1127 w 1292"/>
                <a:gd name="T115" fmla="*/ 480 h 569"/>
                <a:gd name="T116" fmla="*/ 1229 w 1292"/>
                <a:gd name="T117" fmla="*/ 493 h 569"/>
                <a:gd name="T118" fmla="*/ 1292 w 1292"/>
                <a:gd name="T119" fmla="*/ 565 h 569"/>
                <a:gd name="T120" fmla="*/ 1225 w 1292"/>
                <a:gd name="T121" fmla="*/ 481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2" h="569">
                  <a:moveTo>
                    <a:pt x="1105" y="302"/>
                  </a:moveTo>
                  <a:cubicBezTo>
                    <a:pt x="1040" y="302"/>
                    <a:pt x="1040" y="302"/>
                    <a:pt x="1040" y="302"/>
                  </a:cubicBezTo>
                  <a:cubicBezTo>
                    <a:pt x="1040" y="6"/>
                    <a:pt x="1040" y="6"/>
                    <a:pt x="1040" y="6"/>
                  </a:cubicBezTo>
                  <a:cubicBezTo>
                    <a:pt x="1105" y="6"/>
                    <a:pt x="1105" y="6"/>
                    <a:pt x="1105" y="6"/>
                  </a:cubicBezTo>
                  <a:lnTo>
                    <a:pt x="1105" y="302"/>
                  </a:lnTo>
                  <a:close/>
                  <a:moveTo>
                    <a:pt x="1011" y="18"/>
                  </a:moveTo>
                  <a:cubicBezTo>
                    <a:pt x="989" y="7"/>
                    <a:pt x="964" y="0"/>
                    <a:pt x="937" y="0"/>
                  </a:cubicBezTo>
                  <a:cubicBezTo>
                    <a:pt x="840" y="0"/>
                    <a:pt x="774" y="74"/>
                    <a:pt x="774" y="158"/>
                  </a:cubicBezTo>
                  <a:cubicBezTo>
                    <a:pt x="774" y="239"/>
                    <a:pt x="843" y="310"/>
                    <a:pt x="936" y="310"/>
                  </a:cubicBezTo>
                  <a:cubicBezTo>
                    <a:pt x="963" y="310"/>
                    <a:pt x="987" y="303"/>
                    <a:pt x="1011" y="293"/>
                  </a:cubicBezTo>
                  <a:cubicBezTo>
                    <a:pt x="1011" y="225"/>
                    <a:pt x="1011" y="225"/>
                    <a:pt x="1011" y="225"/>
                  </a:cubicBezTo>
                  <a:cubicBezTo>
                    <a:pt x="993" y="243"/>
                    <a:pt x="965" y="255"/>
                    <a:pt x="938" y="255"/>
                  </a:cubicBezTo>
                  <a:cubicBezTo>
                    <a:pt x="878" y="255"/>
                    <a:pt x="841" y="206"/>
                    <a:pt x="841" y="157"/>
                  </a:cubicBezTo>
                  <a:cubicBezTo>
                    <a:pt x="841" y="106"/>
                    <a:pt x="876" y="57"/>
                    <a:pt x="939" y="57"/>
                  </a:cubicBezTo>
                  <a:cubicBezTo>
                    <a:pt x="966" y="57"/>
                    <a:pt x="993" y="67"/>
                    <a:pt x="1011" y="86"/>
                  </a:cubicBezTo>
                  <a:cubicBezTo>
                    <a:pt x="1011" y="18"/>
                    <a:pt x="1011" y="18"/>
                    <a:pt x="1011" y="18"/>
                  </a:cubicBezTo>
                  <a:moveTo>
                    <a:pt x="525" y="58"/>
                  </a:moveTo>
                  <a:cubicBezTo>
                    <a:pt x="525" y="6"/>
                    <a:pt x="525" y="6"/>
                    <a:pt x="525" y="6"/>
                  </a:cubicBezTo>
                  <a:cubicBezTo>
                    <a:pt x="352" y="6"/>
                    <a:pt x="352" y="6"/>
                    <a:pt x="352" y="6"/>
                  </a:cubicBezTo>
                  <a:cubicBezTo>
                    <a:pt x="352" y="302"/>
                    <a:pt x="352" y="302"/>
                    <a:pt x="352" y="302"/>
                  </a:cubicBezTo>
                  <a:cubicBezTo>
                    <a:pt x="525" y="302"/>
                    <a:pt x="525" y="302"/>
                    <a:pt x="525" y="302"/>
                  </a:cubicBezTo>
                  <a:cubicBezTo>
                    <a:pt x="525" y="251"/>
                    <a:pt x="525" y="251"/>
                    <a:pt x="525" y="251"/>
                  </a:cubicBezTo>
                  <a:cubicBezTo>
                    <a:pt x="418" y="251"/>
                    <a:pt x="418" y="251"/>
                    <a:pt x="418" y="251"/>
                  </a:cubicBezTo>
                  <a:cubicBezTo>
                    <a:pt x="418" y="177"/>
                    <a:pt x="418" y="177"/>
                    <a:pt x="418" y="177"/>
                  </a:cubicBezTo>
                  <a:cubicBezTo>
                    <a:pt x="521" y="177"/>
                    <a:pt x="521" y="177"/>
                    <a:pt x="521" y="177"/>
                  </a:cubicBezTo>
                  <a:cubicBezTo>
                    <a:pt x="521" y="125"/>
                    <a:pt x="521" y="125"/>
                    <a:pt x="521" y="125"/>
                  </a:cubicBezTo>
                  <a:cubicBezTo>
                    <a:pt x="418" y="125"/>
                    <a:pt x="418" y="125"/>
                    <a:pt x="418" y="125"/>
                  </a:cubicBezTo>
                  <a:cubicBezTo>
                    <a:pt x="418" y="58"/>
                    <a:pt x="418" y="58"/>
                    <a:pt x="418" y="58"/>
                  </a:cubicBezTo>
                  <a:cubicBezTo>
                    <a:pt x="525" y="58"/>
                    <a:pt x="525" y="58"/>
                    <a:pt x="525" y="58"/>
                  </a:cubicBezTo>
                  <a:moveTo>
                    <a:pt x="1107" y="140"/>
                  </a:moveTo>
                  <a:cubicBezTo>
                    <a:pt x="1216" y="301"/>
                    <a:pt x="1216" y="301"/>
                    <a:pt x="1216" y="301"/>
                  </a:cubicBezTo>
                  <a:cubicBezTo>
                    <a:pt x="1291" y="301"/>
                    <a:pt x="1291" y="301"/>
                    <a:pt x="1291" y="301"/>
                  </a:cubicBezTo>
                  <a:cubicBezTo>
                    <a:pt x="1180" y="140"/>
                    <a:pt x="1180" y="140"/>
                    <a:pt x="1180" y="140"/>
                  </a:cubicBezTo>
                  <a:cubicBezTo>
                    <a:pt x="1277" y="6"/>
                    <a:pt x="1277" y="6"/>
                    <a:pt x="1277" y="6"/>
                  </a:cubicBezTo>
                  <a:cubicBezTo>
                    <a:pt x="1202" y="6"/>
                    <a:pt x="1202" y="6"/>
                    <a:pt x="1202" y="6"/>
                  </a:cubicBezTo>
                  <a:lnTo>
                    <a:pt x="1107" y="140"/>
                  </a:lnTo>
                  <a:close/>
                  <a:moveTo>
                    <a:pt x="618" y="54"/>
                  </a:moveTo>
                  <a:cubicBezTo>
                    <a:pt x="618" y="54"/>
                    <a:pt x="657" y="54"/>
                    <a:pt x="659" y="54"/>
                  </a:cubicBezTo>
                  <a:cubicBezTo>
                    <a:pt x="681" y="56"/>
                    <a:pt x="698" y="75"/>
                    <a:pt x="698" y="97"/>
                  </a:cubicBezTo>
                  <a:cubicBezTo>
                    <a:pt x="698" y="121"/>
                    <a:pt x="679" y="140"/>
                    <a:pt x="655" y="140"/>
                  </a:cubicBezTo>
                  <a:cubicBezTo>
                    <a:pt x="655" y="140"/>
                    <a:pt x="654" y="140"/>
                    <a:pt x="654" y="140"/>
                  </a:cubicBezTo>
                  <a:cubicBezTo>
                    <a:pt x="651" y="140"/>
                    <a:pt x="638" y="140"/>
                    <a:pt x="635" y="140"/>
                  </a:cubicBezTo>
                  <a:cubicBezTo>
                    <a:pt x="628" y="140"/>
                    <a:pt x="628" y="140"/>
                    <a:pt x="628" y="140"/>
                  </a:cubicBezTo>
                  <a:cubicBezTo>
                    <a:pt x="620" y="140"/>
                    <a:pt x="620" y="140"/>
                    <a:pt x="620" y="140"/>
                  </a:cubicBezTo>
                  <a:cubicBezTo>
                    <a:pt x="728" y="302"/>
                    <a:pt x="728" y="302"/>
                    <a:pt x="728" y="302"/>
                  </a:cubicBezTo>
                  <a:cubicBezTo>
                    <a:pt x="801" y="302"/>
                    <a:pt x="801" y="302"/>
                    <a:pt x="801" y="302"/>
                  </a:cubicBezTo>
                  <a:cubicBezTo>
                    <a:pt x="711" y="174"/>
                    <a:pt x="711" y="174"/>
                    <a:pt x="711" y="174"/>
                  </a:cubicBezTo>
                  <a:cubicBezTo>
                    <a:pt x="748" y="161"/>
                    <a:pt x="764" y="130"/>
                    <a:pt x="764" y="94"/>
                  </a:cubicBezTo>
                  <a:cubicBezTo>
                    <a:pt x="764" y="45"/>
                    <a:pt x="725" y="6"/>
                    <a:pt x="676" y="6"/>
                  </a:cubicBezTo>
                  <a:cubicBezTo>
                    <a:pt x="675" y="6"/>
                    <a:pt x="553" y="6"/>
                    <a:pt x="553" y="6"/>
                  </a:cubicBezTo>
                  <a:cubicBezTo>
                    <a:pt x="553" y="302"/>
                    <a:pt x="553" y="302"/>
                    <a:pt x="553" y="302"/>
                  </a:cubicBezTo>
                  <a:cubicBezTo>
                    <a:pt x="618" y="302"/>
                    <a:pt x="618" y="302"/>
                    <a:pt x="618" y="302"/>
                  </a:cubicBezTo>
                  <a:lnTo>
                    <a:pt x="618" y="54"/>
                  </a:lnTo>
                  <a:close/>
                  <a:moveTo>
                    <a:pt x="164" y="305"/>
                  </a:moveTo>
                  <a:cubicBezTo>
                    <a:pt x="255" y="92"/>
                    <a:pt x="255" y="92"/>
                    <a:pt x="255" y="92"/>
                  </a:cubicBezTo>
                  <a:cubicBezTo>
                    <a:pt x="255" y="302"/>
                    <a:pt x="255" y="302"/>
                    <a:pt x="255" y="302"/>
                  </a:cubicBezTo>
                  <a:cubicBezTo>
                    <a:pt x="319" y="302"/>
                    <a:pt x="319" y="302"/>
                    <a:pt x="319" y="302"/>
                  </a:cubicBezTo>
                  <a:cubicBezTo>
                    <a:pt x="319" y="6"/>
                    <a:pt x="319" y="6"/>
                    <a:pt x="319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72" y="302"/>
                    <a:pt x="72" y="302"/>
                    <a:pt x="72" y="302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164" y="305"/>
                    <a:pt x="164" y="305"/>
                    <a:pt x="164" y="305"/>
                  </a:cubicBezTo>
                  <a:close/>
                  <a:moveTo>
                    <a:pt x="0" y="565"/>
                  </a:moveTo>
                  <a:cubicBezTo>
                    <a:pt x="20" y="565"/>
                    <a:pt x="20" y="565"/>
                    <a:pt x="20" y="565"/>
                  </a:cubicBezTo>
                  <a:cubicBezTo>
                    <a:pt x="35" y="529"/>
                    <a:pt x="35" y="529"/>
                    <a:pt x="35" y="529"/>
                  </a:cubicBezTo>
                  <a:cubicBezTo>
                    <a:pt x="101" y="529"/>
                    <a:pt x="101" y="529"/>
                    <a:pt x="101" y="529"/>
                  </a:cubicBezTo>
                  <a:cubicBezTo>
                    <a:pt x="116" y="565"/>
                    <a:pt x="116" y="565"/>
                    <a:pt x="116" y="565"/>
                  </a:cubicBezTo>
                  <a:cubicBezTo>
                    <a:pt x="137" y="565"/>
                    <a:pt x="137" y="565"/>
                    <a:pt x="137" y="565"/>
                  </a:cubicBezTo>
                  <a:cubicBezTo>
                    <a:pt x="80" y="424"/>
                    <a:pt x="80" y="424"/>
                    <a:pt x="80" y="424"/>
                  </a:cubicBezTo>
                  <a:cubicBezTo>
                    <a:pt x="59" y="424"/>
                    <a:pt x="59" y="424"/>
                    <a:pt x="59" y="424"/>
                  </a:cubicBezTo>
                  <a:lnTo>
                    <a:pt x="0" y="565"/>
                  </a:lnTo>
                  <a:close/>
                  <a:moveTo>
                    <a:pt x="69" y="443"/>
                  </a:moveTo>
                  <a:cubicBezTo>
                    <a:pt x="95" y="513"/>
                    <a:pt x="95" y="513"/>
                    <a:pt x="95" y="513"/>
                  </a:cubicBezTo>
                  <a:cubicBezTo>
                    <a:pt x="41" y="513"/>
                    <a:pt x="41" y="513"/>
                    <a:pt x="41" y="513"/>
                  </a:cubicBezTo>
                  <a:lnTo>
                    <a:pt x="69" y="443"/>
                  </a:lnTo>
                  <a:close/>
                  <a:moveTo>
                    <a:pt x="157" y="565"/>
                  </a:moveTo>
                  <a:cubicBezTo>
                    <a:pt x="175" y="565"/>
                    <a:pt x="175" y="565"/>
                    <a:pt x="175" y="565"/>
                  </a:cubicBezTo>
                  <a:cubicBezTo>
                    <a:pt x="175" y="509"/>
                    <a:pt x="175" y="509"/>
                    <a:pt x="175" y="509"/>
                  </a:cubicBezTo>
                  <a:cubicBezTo>
                    <a:pt x="175" y="489"/>
                    <a:pt x="188" y="480"/>
                    <a:pt x="201" y="480"/>
                  </a:cubicBezTo>
                  <a:cubicBezTo>
                    <a:pt x="207" y="480"/>
                    <a:pt x="214" y="482"/>
                    <a:pt x="219" y="486"/>
                  </a:cubicBezTo>
                  <a:cubicBezTo>
                    <a:pt x="223" y="491"/>
                    <a:pt x="224" y="497"/>
                    <a:pt x="224" y="503"/>
                  </a:cubicBezTo>
                  <a:cubicBezTo>
                    <a:pt x="224" y="565"/>
                    <a:pt x="224" y="565"/>
                    <a:pt x="224" y="565"/>
                  </a:cubicBezTo>
                  <a:cubicBezTo>
                    <a:pt x="243" y="565"/>
                    <a:pt x="243" y="565"/>
                    <a:pt x="243" y="565"/>
                  </a:cubicBezTo>
                  <a:cubicBezTo>
                    <a:pt x="243" y="499"/>
                    <a:pt x="243" y="499"/>
                    <a:pt x="243" y="499"/>
                  </a:cubicBezTo>
                  <a:cubicBezTo>
                    <a:pt x="243" y="469"/>
                    <a:pt x="216" y="465"/>
                    <a:pt x="207" y="465"/>
                  </a:cubicBezTo>
                  <a:cubicBezTo>
                    <a:pt x="185" y="465"/>
                    <a:pt x="178" y="479"/>
                    <a:pt x="175" y="483"/>
                  </a:cubicBezTo>
                  <a:cubicBezTo>
                    <a:pt x="175" y="467"/>
                    <a:pt x="175" y="467"/>
                    <a:pt x="175" y="467"/>
                  </a:cubicBezTo>
                  <a:cubicBezTo>
                    <a:pt x="157" y="467"/>
                    <a:pt x="157" y="467"/>
                    <a:pt x="157" y="467"/>
                  </a:cubicBezTo>
                  <a:cubicBezTo>
                    <a:pt x="157" y="478"/>
                    <a:pt x="157" y="478"/>
                    <a:pt x="157" y="478"/>
                  </a:cubicBezTo>
                  <a:lnTo>
                    <a:pt x="157" y="565"/>
                  </a:lnTo>
                  <a:close/>
                  <a:moveTo>
                    <a:pt x="274" y="445"/>
                  </a:moveTo>
                  <a:cubicBezTo>
                    <a:pt x="296" y="445"/>
                    <a:pt x="296" y="445"/>
                    <a:pt x="296" y="445"/>
                  </a:cubicBezTo>
                  <a:cubicBezTo>
                    <a:pt x="296" y="424"/>
                    <a:pt x="296" y="424"/>
                    <a:pt x="296" y="424"/>
                  </a:cubicBezTo>
                  <a:cubicBezTo>
                    <a:pt x="274" y="424"/>
                    <a:pt x="274" y="424"/>
                    <a:pt x="274" y="424"/>
                  </a:cubicBezTo>
                  <a:lnTo>
                    <a:pt x="274" y="445"/>
                  </a:lnTo>
                  <a:close/>
                  <a:moveTo>
                    <a:pt x="276" y="565"/>
                  </a:moveTo>
                  <a:cubicBezTo>
                    <a:pt x="295" y="565"/>
                    <a:pt x="295" y="565"/>
                    <a:pt x="295" y="565"/>
                  </a:cubicBezTo>
                  <a:cubicBezTo>
                    <a:pt x="295" y="467"/>
                    <a:pt x="295" y="467"/>
                    <a:pt x="295" y="467"/>
                  </a:cubicBezTo>
                  <a:cubicBezTo>
                    <a:pt x="276" y="467"/>
                    <a:pt x="276" y="467"/>
                    <a:pt x="276" y="467"/>
                  </a:cubicBezTo>
                  <a:lnTo>
                    <a:pt x="276" y="565"/>
                  </a:lnTo>
                  <a:close/>
                  <a:moveTo>
                    <a:pt x="330" y="565"/>
                  </a:moveTo>
                  <a:cubicBezTo>
                    <a:pt x="349" y="565"/>
                    <a:pt x="349" y="565"/>
                    <a:pt x="349" y="565"/>
                  </a:cubicBezTo>
                  <a:cubicBezTo>
                    <a:pt x="349" y="510"/>
                    <a:pt x="349" y="510"/>
                    <a:pt x="349" y="510"/>
                  </a:cubicBezTo>
                  <a:cubicBezTo>
                    <a:pt x="349" y="503"/>
                    <a:pt x="349" y="495"/>
                    <a:pt x="353" y="490"/>
                  </a:cubicBezTo>
                  <a:cubicBezTo>
                    <a:pt x="355" y="487"/>
                    <a:pt x="362" y="479"/>
                    <a:pt x="375" y="479"/>
                  </a:cubicBezTo>
                  <a:cubicBezTo>
                    <a:pt x="389" y="479"/>
                    <a:pt x="396" y="488"/>
                    <a:pt x="396" y="500"/>
                  </a:cubicBezTo>
                  <a:cubicBezTo>
                    <a:pt x="396" y="565"/>
                    <a:pt x="396" y="565"/>
                    <a:pt x="396" y="565"/>
                  </a:cubicBezTo>
                  <a:cubicBezTo>
                    <a:pt x="415" y="565"/>
                    <a:pt x="415" y="565"/>
                    <a:pt x="415" y="565"/>
                  </a:cubicBezTo>
                  <a:cubicBezTo>
                    <a:pt x="415" y="510"/>
                    <a:pt x="415" y="510"/>
                    <a:pt x="415" y="510"/>
                  </a:cubicBezTo>
                  <a:cubicBezTo>
                    <a:pt x="415" y="506"/>
                    <a:pt x="415" y="495"/>
                    <a:pt x="419" y="489"/>
                  </a:cubicBezTo>
                  <a:cubicBezTo>
                    <a:pt x="422" y="486"/>
                    <a:pt x="428" y="479"/>
                    <a:pt x="440" y="479"/>
                  </a:cubicBezTo>
                  <a:cubicBezTo>
                    <a:pt x="449" y="479"/>
                    <a:pt x="456" y="483"/>
                    <a:pt x="459" y="487"/>
                  </a:cubicBezTo>
                  <a:cubicBezTo>
                    <a:pt x="461" y="490"/>
                    <a:pt x="462" y="494"/>
                    <a:pt x="462" y="502"/>
                  </a:cubicBezTo>
                  <a:cubicBezTo>
                    <a:pt x="462" y="565"/>
                    <a:pt x="462" y="565"/>
                    <a:pt x="462" y="565"/>
                  </a:cubicBezTo>
                  <a:cubicBezTo>
                    <a:pt x="481" y="565"/>
                    <a:pt x="481" y="565"/>
                    <a:pt x="481" y="565"/>
                  </a:cubicBezTo>
                  <a:cubicBezTo>
                    <a:pt x="481" y="499"/>
                    <a:pt x="481" y="499"/>
                    <a:pt x="481" y="499"/>
                  </a:cubicBezTo>
                  <a:cubicBezTo>
                    <a:pt x="481" y="471"/>
                    <a:pt x="459" y="465"/>
                    <a:pt x="445" y="465"/>
                  </a:cubicBezTo>
                  <a:cubicBezTo>
                    <a:pt x="423" y="465"/>
                    <a:pt x="415" y="478"/>
                    <a:pt x="412" y="483"/>
                  </a:cubicBezTo>
                  <a:cubicBezTo>
                    <a:pt x="408" y="476"/>
                    <a:pt x="401" y="465"/>
                    <a:pt x="380" y="465"/>
                  </a:cubicBezTo>
                  <a:cubicBezTo>
                    <a:pt x="371" y="465"/>
                    <a:pt x="358" y="466"/>
                    <a:pt x="348" y="481"/>
                  </a:cubicBezTo>
                  <a:cubicBezTo>
                    <a:pt x="348" y="467"/>
                    <a:pt x="348" y="467"/>
                    <a:pt x="348" y="467"/>
                  </a:cubicBezTo>
                  <a:cubicBezTo>
                    <a:pt x="330" y="467"/>
                    <a:pt x="330" y="467"/>
                    <a:pt x="330" y="467"/>
                  </a:cubicBezTo>
                  <a:cubicBezTo>
                    <a:pt x="330" y="480"/>
                    <a:pt x="330" y="480"/>
                    <a:pt x="330" y="480"/>
                  </a:cubicBezTo>
                  <a:cubicBezTo>
                    <a:pt x="330" y="565"/>
                    <a:pt x="330" y="565"/>
                    <a:pt x="330" y="565"/>
                  </a:cubicBezTo>
                  <a:close/>
                  <a:moveTo>
                    <a:pt x="592" y="565"/>
                  </a:moveTo>
                  <a:cubicBezTo>
                    <a:pt x="590" y="555"/>
                    <a:pt x="590" y="542"/>
                    <a:pt x="590" y="541"/>
                  </a:cubicBezTo>
                  <a:cubicBezTo>
                    <a:pt x="591" y="494"/>
                    <a:pt x="591" y="494"/>
                    <a:pt x="591" y="494"/>
                  </a:cubicBezTo>
                  <a:cubicBezTo>
                    <a:pt x="591" y="489"/>
                    <a:pt x="591" y="485"/>
                    <a:pt x="588" y="479"/>
                  </a:cubicBezTo>
                  <a:cubicBezTo>
                    <a:pt x="582" y="469"/>
                    <a:pt x="567" y="464"/>
                    <a:pt x="553" y="464"/>
                  </a:cubicBezTo>
                  <a:cubicBezTo>
                    <a:pt x="542" y="464"/>
                    <a:pt x="529" y="467"/>
                    <a:pt x="521" y="475"/>
                  </a:cubicBezTo>
                  <a:cubicBezTo>
                    <a:pt x="515" y="481"/>
                    <a:pt x="515" y="488"/>
                    <a:pt x="514" y="493"/>
                  </a:cubicBezTo>
                  <a:cubicBezTo>
                    <a:pt x="533" y="493"/>
                    <a:pt x="533" y="493"/>
                    <a:pt x="533" y="493"/>
                  </a:cubicBezTo>
                  <a:cubicBezTo>
                    <a:pt x="533" y="490"/>
                    <a:pt x="534" y="477"/>
                    <a:pt x="553" y="477"/>
                  </a:cubicBezTo>
                  <a:cubicBezTo>
                    <a:pt x="558" y="477"/>
                    <a:pt x="566" y="478"/>
                    <a:pt x="570" y="483"/>
                  </a:cubicBezTo>
                  <a:cubicBezTo>
                    <a:pt x="573" y="488"/>
                    <a:pt x="573" y="493"/>
                    <a:pt x="573" y="505"/>
                  </a:cubicBezTo>
                  <a:cubicBezTo>
                    <a:pt x="567" y="505"/>
                    <a:pt x="564" y="504"/>
                    <a:pt x="560" y="504"/>
                  </a:cubicBezTo>
                  <a:cubicBezTo>
                    <a:pt x="552" y="504"/>
                    <a:pt x="536" y="505"/>
                    <a:pt x="526" y="511"/>
                  </a:cubicBezTo>
                  <a:cubicBezTo>
                    <a:pt x="511" y="519"/>
                    <a:pt x="509" y="532"/>
                    <a:pt x="509" y="540"/>
                  </a:cubicBezTo>
                  <a:cubicBezTo>
                    <a:pt x="509" y="556"/>
                    <a:pt x="521" y="569"/>
                    <a:pt x="543" y="569"/>
                  </a:cubicBezTo>
                  <a:cubicBezTo>
                    <a:pt x="551" y="569"/>
                    <a:pt x="565" y="567"/>
                    <a:pt x="574" y="551"/>
                  </a:cubicBezTo>
                  <a:cubicBezTo>
                    <a:pt x="574" y="556"/>
                    <a:pt x="574" y="561"/>
                    <a:pt x="575" y="565"/>
                  </a:cubicBezTo>
                  <a:lnTo>
                    <a:pt x="592" y="565"/>
                  </a:lnTo>
                  <a:close/>
                  <a:moveTo>
                    <a:pt x="573" y="518"/>
                  </a:moveTo>
                  <a:cubicBezTo>
                    <a:pt x="573" y="531"/>
                    <a:pt x="572" y="537"/>
                    <a:pt x="568" y="544"/>
                  </a:cubicBezTo>
                  <a:cubicBezTo>
                    <a:pt x="564" y="550"/>
                    <a:pt x="557" y="554"/>
                    <a:pt x="547" y="554"/>
                  </a:cubicBezTo>
                  <a:cubicBezTo>
                    <a:pt x="531" y="554"/>
                    <a:pt x="527" y="543"/>
                    <a:pt x="527" y="537"/>
                  </a:cubicBezTo>
                  <a:cubicBezTo>
                    <a:pt x="527" y="517"/>
                    <a:pt x="555" y="517"/>
                    <a:pt x="562" y="517"/>
                  </a:cubicBezTo>
                  <a:cubicBezTo>
                    <a:pt x="567" y="517"/>
                    <a:pt x="570" y="517"/>
                    <a:pt x="573" y="518"/>
                  </a:cubicBezTo>
                  <a:close/>
                  <a:moveTo>
                    <a:pt x="624" y="565"/>
                  </a:moveTo>
                  <a:cubicBezTo>
                    <a:pt x="643" y="565"/>
                    <a:pt x="643" y="565"/>
                    <a:pt x="643" y="565"/>
                  </a:cubicBezTo>
                  <a:cubicBezTo>
                    <a:pt x="643" y="424"/>
                    <a:pt x="643" y="424"/>
                    <a:pt x="643" y="424"/>
                  </a:cubicBezTo>
                  <a:cubicBezTo>
                    <a:pt x="624" y="424"/>
                    <a:pt x="624" y="424"/>
                    <a:pt x="624" y="424"/>
                  </a:cubicBezTo>
                  <a:lnTo>
                    <a:pt x="624" y="565"/>
                  </a:lnTo>
                  <a:close/>
                  <a:moveTo>
                    <a:pt x="733" y="424"/>
                  </a:moveTo>
                  <a:cubicBezTo>
                    <a:pt x="733" y="565"/>
                    <a:pt x="733" y="565"/>
                    <a:pt x="733" y="565"/>
                  </a:cubicBezTo>
                  <a:cubicBezTo>
                    <a:pt x="753" y="565"/>
                    <a:pt x="753" y="565"/>
                    <a:pt x="753" y="565"/>
                  </a:cubicBezTo>
                  <a:cubicBezTo>
                    <a:pt x="753" y="502"/>
                    <a:pt x="753" y="502"/>
                    <a:pt x="753" y="502"/>
                  </a:cubicBezTo>
                  <a:cubicBezTo>
                    <a:pt x="820" y="502"/>
                    <a:pt x="820" y="502"/>
                    <a:pt x="820" y="502"/>
                  </a:cubicBezTo>
                  <a:cubicBezTo>
                    <a:pt x="820" y="565"/>
                    <a:pt x="820" y="565"/>
                    <a:pt x="820" y="565"/>
                  </a:cubicBezTo>
                  <a:cubicBezTo>
                    <a:pt x="839" y="565"/>
                    <a:pt x="839" y="565"/>
                    <a:pt x="839" y="565"/>
                  </a:cubicBezTo>
                  <a:cubicBezTo>
                    <a:pt x="839" y="424"/>
                    <a:pt x="839" y="424"/>
                    <a:pt x="839" y="424"/>
                  </a:cubicBezTo>
                  <a:cubicBezTo>
                    <a:pt x="820" y="424"/>
                    <a:pt x="820" y="424"/>
                    <a:pt x="820" y="424"/>
                  </a:cubicBezTo>
                  <a:cubicBezTo>
                    <a:pt x="820" y="485"/>
                    <a:pt x="820" y="485"/>
                    <a:pt x="820" y="485"/>
                  </a:cubicBezTo>
                  <a:cubicBezTo>
                    <a:pt x="753" y="485"/>
                    <a:pt x="753" y="485"/>
                    <a:pt x="753" y="485"/>
                  </a:cubicBezTo>
                  <a:cubicBezTo>
                    <a:pt x="753" y="424"/>
                    <a:pt x="753" y="424"/>
                    <a:pt x="753" y="424"/>
                  </a:cubicBezTo>
                  <a:lnTo>
                    <a:pt x="733" y="424"/>
                  </a:lnTo>
                  <a:close/>
                  <a:moveTo>
                    <a:pt x="956" y="520"/>
                  </a:moveTo>
                  <a:cubicBezTo>
                    <a:pt x="957" y="503"/>
                    <a:pt x="957" y="465"/>
                    <a:pt x="913" y="465"/>
                  </a:cubicBezTo>
                  <a:cubicBezTo>
                    <a:pt x="908" y="465"/>
                    <a:pt x="896" y="465"/>
                    <a:pt x="887" y="472"/>
                  </a:cubicBezTo>
                  <a:cubicBezTo>
                    <a:pt x="871" y="483"/>
                    <a:pt x="867" y="499"/>
                    <a:pt x="867" y="518"/>
                  </a:cubicBezTo>
                  <a:cubicBezTo>
                    <a:pt x="867" y="549"/>
                    <a:pt x="882" y="568"/>
                    <a:pt x="913" y="568"/>
                  </a:cubicBezTo>
                  <a:cubicBezTo>
                    <a:pt x="933" y="568"/>
                    <a:pt x="942" y="560"/>
                    <a:pt x="947" y="555"/>
                  </a:cubicBezTo>
                  <a:cubicBezTo>
                    <a:pt x="954" y="547"/>
                    <a:pt x="955" y="539"/>
                    <a:pt x="955" y="535"/>
                  </a:cubicBezTo>
                  <a:cubicBezTo>
                    <a:pt x="937" y="535"/>
                    <a:pt x="937" y="535"/>
                    <a:pt x="937" y="535"/>
                  </a:cubicBezTo>
                  <a:cubicBezTo>
                    <a:pt x="935" y="549"/>
                    <a:pt x="926" y="555"/>
                    <a:pt x="914" y="555"/>
                  </a:cubicBezTo>
                  <a:cubicBezTo>
                    <a:pt x="893" y="555"/>
                    <a:pt x="885" y="540"/>
                    <a:pt x="885" y="519"/>
                  </a:cubicBezTo>
                  <a:cubicBezTo>
                    <a:pt x="956" y="519"/>
                    <a:pt x="956" y="519"/>
                    <a:pt x="956" y="519"/>
                  </a:cubicBezTo>
                  <a:lnTo>
                    <a:pt x="956" y="520"/>
                  </a:lnTo>
                  <a:close/>
                  <a:moveTo>
                    <a:pt x="886" y="507"/>
                  </a:moveTo>
                  <a:cubicBezTo>
                    <a:pt x="887" y="485"/>
                    <a:pt x="901" y="478"/>
                    <a:pt x="913" y="478"/>
                  </a:cubicBezTo>
                  <a:cubicBezTo>
                    <a:pt x="936" y="478"/>
                    <a:pt x="937" y="497"/>
                    <a:pt x="937" y="507"/>
                  </a:cubicBezTo>
                  <a:lnTo>
                    <a:pt x="886" y="507"/>
                  </a:lnTo>
                  <a:close/>
                  <a:moveTo>
                    <a:pt x="1060" y="565"/>
                  </a:moveTo>
                  <a:cubicBezTo>
                    <a:pt x="1058" y="555"/>
                    <a:pt x="1058" y="542"/>
                    <a:pt x="1058" y="541"/>
                  </a:cubicBezTo>
                  <a:cubicBezTo>
                    <a:pt x="1059" y="494"/>
                    <a:pt x="1059" y="494"/>
                    <a:pt x="1059" y="494"/>
                  </a:cubicBezTo>
                  <a:cubicBezTo>
                    <a:pt x="1059" y="489"/>
                    <a:pt x="1059" y="485"/>
                    <a:pt x="1056" y="479"/>
                  </a:cubicBezTo>
                  <a:cubicBezTo>
                    <a:pt x="1050" y="469"/>
                    <a:pt x="1035" y="464"/>
                    <a:pt x="1021" y="464"/>
                  </a:cubicBezTo>
                  <a:cubicBezTo>
                    <a:pt x="1010" y="464"/>
                    <a:pt x="997" y="467"/>
                    <a:pt x="989" y="475"/>
                  </a:cubicBezTo>
                  <a:cubicBezTo>
                    <a:pt x="983" y="481"/>
                    <a:pt x="983" y="488"/>
                    <a:pt x="982" y="493"/>
                  </a:cubicBezTo>
                  <a:cubicBezTo>
                    <a:pt x="1001" y="493"/>
                    <a:pt x="1001" y="493"/>
                    <a:pt x="1001" y="493"/>
                  </a:cubicBezTo>
                  <a:cubicBezTo>
                    <a:pt x="1001" y="490"/>
                    <a:pt x="1002" y="477"/>
                    <a:pt x="1020" y="477"/>
                  </a:cubicBezTo>
                  <a:cubicBezTo>
                    <a:pt x="1026" y="477"/>
                    <a:pt x="1034" y="478"/>
                    <a:pt x="1038" y="483"/>
                  </a:cubicBezTo>
                  <a:cubicBezTo>
                    <a:pt x="1041" y="488"/>
                    <a:pt x="1041" y="493"/>
                    <a:pt x="1041" y="505"/>
                  </a:cubicBezTo>
                  <a:cubicBezTo>
                    <a:pt x="1035" y="505"/>
                    <a:pt x="1032" y="504"/>
                    <a:pt x="1028" y="504"/>
                  </a:cubicBezTo>
                  <a:cubicBezTo>
                    <a:pt x="1020" y="504"/>
                    <a:pt x="1004" y="505"/>
                    <a:pt x="994" y="511"/>
                  </a:cubicBezTo>
                  <a:cubicBezTo>
                    <a:pt x="979" y="519"/>
                    <a:pt x="976" y="532"/>
                    <a:pt x="976" y="540"/>
                  </a:cubicBezTo>
                  <a:cubicBezTo>
                    <a:pt x="976" y="556"/>
                    <a:pt x="989" y="569"/>
                    <a:pt x="1011" y="569"/>
                  </a:cubicBezTo>
                  <a:cubicBezTo>
                    <a:pt x="1019" y="569"/>
                    <a:pt x="1033" y="567"/>
                    <a:pt x="1041" y="551"/>
                  </a:cubicBezTo>
                  <a:cubicBezTo>
                    <a:pt x="1041" y="556"/>
                    <a:pt x="1042" y="561"/>
                    <a:pt x="1043" y="565"/>
                  </a:cubicBezTo>
                  <a:lnTo>
                    <a:pt x="1060" y="565"/>
                  </a:lnTo>
                  <a:close/>
                  <a:moveTo>
                    <a:pt x="1041" y="518"/>
                  </a:moveTo>
                  <a:cubicBezTo>
                    <a:pt x="1040" y="531"/>
                    <a:pt x="1040" y="537"/>
                    <a:pt x="1036" y="544"/>
                  </a:cubicBezTo>
                  <a:cubicBezTo>
                    <a:pt x="1032" y="550"/>
                    <a:pt x="1025" y="554"/>
                    <a:pt x="1015" y="554"/>
                  </a:cubicBezTo>
                  <a:cubicBezTo>
                    <a:pt x="999" y="554"/>
                    <a:pt x="995" y="543"/>
                    <a:pt x="995" y="537"/>
                  </a:cubicBezTo>
                  <a:cubicBezTo>
                    <a:pt x="995" y="517"/>
                    <a:pt x="1023" y="517"/>
                    <a:pt x="1030" y="517"/>
                  </a:cubicBezTo>
                  <a:cubicBezTo>
                    <a:pt x="1035" y="517"/>
                    <a:pt x="1038" y="517"/>
                    <a:pt x="1041" y="518"/>
                  </a:cubicBezTo>
                  <a:close/>
                  <a:moveTo>
                    <a:pt x="1090" y="565"/>
                  </a:moveTo>
                  <a:cubicBezTo>
                    <a:pt x="1109" y="565"/>
                    <a:pt x="1109" y="565"/>
                    <a:pt x="1109" y="565"/>
                  </a:cubicBezTo>
                  <a:cubicBezTo>
                    <a:pt x="1109" y="424"/>
                    <a:pt x="1109" y="424"/>
                    <a:pt x="1109" y="424"/>
                  </a:cubicBezTo>
                  <a:cubicBezTo>
                    <a:pt x="1090" y="424"/>
                    <a:pt x="1090" y="424"/>
                    <a:pt x="1090" y="424"/>
                  </a:cubicBezTo>
                  <a:lnTo>
                    <a:pt x="1090" y="565"/>
                  </a:lnTo>
                  <a:close/>
                  <a:moveTo>
                    <a:pt x="1127" y="480"/>
                  </a:moveTo>
                  <a:cubicBezTo>
                    <a:pt x="1144" y="480"/>
                    <a:pt x="1144" y="480"/>
                    <a:pt x="1144" y="480"/>
                  </a:cubicBezTo>
                  <a:cubicBezTo>
                    <a:pt x="1144" y="546"/>
                    <a:pt x="1144" y="546"/>
                    <a:pt x="1144" y="546"/>
                  </a:cubicBezTo>
                  <a:cubicBezTo>
                    <a:pt x="1144" y="562"/>
                    <a:pt x="1152" y="567"/>
                    <a:pt x="1169" y="567"/>
                  </a:cubicBezTo>
                  <a:cubicBezTo>
                    <a:pt x="1176" y="567"/>
                    <a:pt x="1181" y="566"/>
                    <a:pt x="1184" y="566"/>
                  </a:cubicBezTo>
                  <a:cubicBezTo>
                    <a:pt x="1184" y="551"/>
                    <a:pt x="1184" y="551"/>
                    <a:pt x="1184" y="551"/>
                  </a:cubicBezTo>
                  <a:cubicBezTo>
                    <a:pt x="1183" y="552"/>
                    <a:pt x="1179" y="552"/>
                    <a:pt x="1175" y="552"/>
                  </a:cubicBezTo>
                  <a:cubicBezTo>
                    <a:pt x="1162" y="552"/>
                    <a:pt x="1162" y="544"/>
                    <a:pt x="1162" y="539"/>
                  </a:cubicBezTo>
                  <a:cubicBezTo>
                    <a:pt x="1162" y="480"/>
                    <a:pt x="1162" y="480"/>
                    <a:pt x="1162" y="480"/>
                  </a:cubicBezTo>
                  <a:cubicBezTo>
                    <a:pt x="1184" y="480"/>
                    <a:pt x="1184" y="480"/>
                    <a:pt x="1184" y="480"/>
                  </a:cubicBezTo>
                  <a:cubicBezTo>
                    <a:pt x="1184" y="467"/>
                    <a:pt x="1184" y="467"/>
                    <a:pt x="1184" y="467"/>
                  </a:cubicBezTo>
                  <a:cubicBezTo>
                    <a:pt x="1162" y="467"/>
                    <a:pt x="1162" y="467"/>
                    <a:pt x="1162" y="467"/>
                  </a:cubicBezTo>
                  <a:cubicBezTo>
                    <a:pt x="1162" y="440"/>
                    <a:pt x="1162" y="440"/>
                    <a:pt x="1162" y="440"/>
                  </a:cubicBezTo>
                  <a:cubicBezTo>
                    <a:pt x="1144" y="446"/>
                    <a:pt x="1144" y="446"/>
                    <a:pt x="1144" y="446"/>
                  </a:cubicBezTo>
                  <a:cubicBezTo>
                    <a:pt x="1144" y="467"/>
                    <a:pt x="1144" y="467"/>
                    <a:pt x="1144" y="467"/>
                  </a:cubicBezTo>
                  <a:cubicBezTo>
                    <a:pt x="1127" y="467"/>
                    <a:pt x="1127" y="467"/>
                    <a:pt x="1127" y="467"/>
                  </a:cubicBezTo>
                  <a:cubicBezTo>
                    <a:pt x="1127" y="480"/>
                    <a:pt x="1127" y="480"/>
                    <a:pt x="1127" y="480"/>
                  </a:cubicBezTo>
                  <a:close/>
                  <a:moveTo>
                    <a:pt x="1207" y="565"/>
                  </a:moveTo>
                  <a:cubicBezTo>
                    <a:pt x="1225" y="565"/>
                    <a:pt x="1225" y="565"/>
                    <a:pt x="1225" y="565"/>
                  </a:cubicBezTo>
                  <a:cubicBezTo>
                    <a:pt x="1225" y="513"/>
                    <a:pt x="1225" y="513"/>
                    <a:pt x="1225" y="513"/>
                  </a:cubicBezTo>
                  <a:cubicBezTo>
                    <a:pt x="1225" y="507"/>
                    <a:pt x="1225" y="498"/>
                    <a:pt x="1229" y="493"/>
                  </a:cubicBezTo>
                  <a:cubicBezTo>
                    <a:pt x="1231" y="488"/>
                    <a:pt x="1238" y="479"/>
                    <a:pt x="1252" y="479"/>
                  </a:cubicBezTo>
                  <a:cubicBezTo>
                    <a:pt x="1273" y="479"/>
                    <a:pt x="1273" y="498"/>
                    <a:pt x="1273" y="507"/>
                  </a:cubicBezTo>
                  <a:cubicBezTo>
                    <a:pt x="1273" y="565"/>
                    <a:pt x="1273" y="565"/>
                    <a:pt x="1273" y="565"/>
                  </a:cubicBezTo>
                  <a:cubicBezTo>
                    <a:pt x="1292" y="565"/>
                    <a:pt x="1292" y="565"/>
                    <a:pt x="1292" y="565"/>
                  </a:cubicBezTo>
                  <a:cubicBezTo>
                    <a:pt x="1292" y="504"/>
                    <a:pt x="1292" y="504"/>
                    <a:pt x="1292" y="504"/>
                  </a:cubicBezTo>
                  <a:cubicBezTo>
                    <a:pt x="1292" y="490"/>
                    <a:pt x="1290" y="485"/>
                    <a:pt x="1288" y="481"/>
                  </a:cubicBezTo>
                  <a:cubicBezTo>
                    <a:pt x="1283" y="469"/>
                    <a:pt x="1268" y="465"/>
                    <a:pt x="1257" y="465"/>
                  </a:cubicBezTo>
                  <a:cubicBezTo>
                    <a:pt x="1244" y="465"/>
                    <a:pt x="1231" y="471"/>
                    <a:pt x="1225" y="481"/>
                  </a:cubicBezTo>
                  <a:cubicBezTo>
                    <a:pt x="1225" y="424"/>
                    <a:pt x="1225" y="424"/>
                    <a:pt x="1225" y="424"/>
                  </a:cubicBezTo>
                  <a:cubicBezTo>
                    <a:pt x="1207" y="424"/>
                    <a:pt x="1207" y="424"/>
                    <a:pt x="1207" y="424"/>
                  </a:cubicBezTo>
                  <a:lnTo>
                    <a:pt x="1207" y="5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1576577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771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50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533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2504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132265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7"/>
            <a:ext cx="7521575" cy="4132264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Nº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>
            <a:cxnSpLocks/>
          </p:cNvCxnSpPr>
          <p:nvPr/>
        </p:nvCxnSpPr>
        <p:spPr>
          <a:xfrm>
            <a:off x="3051313" y="516835"/>
            <a:ext cx="0" cy="55410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4">
            <a:extLst>
              <a:ext uri="{FF2B5EF4-FFF2-40B4-BE49-F238E27FC236}">
                <a16:creationId xmlns:a16="http://schemas.microsoft.com/office/drawing/2014/main" id="{29E29D21-FF99-4549-BEBE-E6B70CCB06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96048" y="6238239"/>
            <a:ext cx="1269026" cy="446803"/>
            <a:chOff x="0" y="1146"/>
            <a:chExt cx="5760" cy="202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8724797F-5800-4BE5-9687-C4282428B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1146"/>
              <a:ext cx="1673" cy="1673"/>
            </a:xfrm>
            <a:custGeom>
              <a:avLst/>
              <a:gdLst>
                <a:gd name="T0" fmla="*/ 349 w 1394"/>
                <a:gd name="T1" fmla="*/ 348 h 1394"/>
                <a:gd name="T2" fmla="*/ 697 w 1394"/>
                <a:gd name="T3" fmla="*/ 0 h 1394"/>
                <a:gd name="T4" fmla="*/ 1045 w 1394"/>
                <a:gd name="T5" fmla="*/ 348 h 1394"/>
                <a:gd name="T6" fmla="*/ 349 w 1394"/>
                <a:gd name="T7" fmla="*/ 348 h 1394"/>
                <a:gd name="T8" fmla="*/ 349 w 1394"/>
                <a:gd name="T9" fmla="*/ 1045 h 1394"/>
                <a:gd name="T10" fmla="*/ 697 w 1394"/>
                <a:gd name="T11" fmla="*/ 1394 h 1394"/>
                <a:gd name="T12" fmla="*/ 1045 w 1394"/>
                <a:gd name="T13" fmla="*/ 1045 h 1394"/>
                <a:gd name="T14" fmla="*/ 349 w 1394"/>
                <a:gd name="T15" fmla="*/ 1045 h 1394"/>
                <a:gd name="T16" fmla="*/ 664 w 1394"/>
                <a:gd name="T17" fmla="*/ 695 h 1394"/>
                <a:gd name="T18" fmla="*/ 349 w 1394"/>
                <a:gd name="T19" fmla="*/ 348 h 1394"/>
                <a:gd name="T20" fmla="*/ 0 w 1394"/>
                <a:gd name="T21" fmla="*/ 697 h 1394"/>
                <a:gd name="T22" fmla="*/ 349 w 1394"/>
                <a:gd name="T23" fmla="*/ 1045 h 1394"/>
                <a:gd name="T24" fmla="*/ 664 w 1394"/>
                <a:gd name="T25" fmla="*/ 698 h 1394"/>
                <a:gd name="T26" fmla="*/ 664 w 1394"/>
                <a:gd name="T27" fmla="*/ 695 h 1394"/>
                <a:gd name="T28" fmla="*/ 730 w 1394"/>
                <a:gd name="T29" fmla="*/ 698 h 1394"/>
                <a:gd name="T30" fmla="*/ 1045 w 1394"/>
                <a:gd name="T31" fmla="*/ 1045 h 1394"/>
                <a:gd name="T32" fmla="*/ 1394 w 1394"/>
                <a:gd name="T33" fmla="*/ 697 h 1394"/>
                <a:gd name="T34" fmla="*/ 1045 w 1394"/>
                <a:gd name="T35" fmla="*/ 348 h 1394"/>
                <a:gd name="T36" fmla="*/ 730 w 1394"/>
                <a:gd name="T37" fmla="*/ 695 h 1394"/>
                <a:gd name="T38" fmla="*/ 730 w 1394"/>
                <a:gd name="T39" fmla="*/ 69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4" h="1394">
                  <a:moveTo>
                    <a:pt x="349" y="348"/>
                  </a:moveTo>
                  <a:cubicBezTo>
                    <a:pt x="349" y="156"/>
                    <a:pt x="505" y="0"/>
                    <a:pt x="697" y="0"/>
                  </a:cubicBezTo>
                  <a:cubicBezTo>
                    <a:pt x="889" y="0"/>
                    <a:pt x="1045" y="156"/>
                    <a:pt x="1045" y="348"/>
                  </a:cubicBezTo>
                  <a:cubicBezTo>
                    <a:pt x="349" y="348"/>
                    <a:pt x="349" y="348"/>
                    <a:pt x="349" y="348"/>
                  </a:cubicBezTo>
                  <a:moveTo>
                    <a:pt x="349" y="1045"/>
                  </a:moveTo>
                  <a:cubicBezTo>
                    <a:pt x="349" y="1238"/>
                    <a:pt x="505" y="1394"/>
                    <a:pt x="697" y="1394"/>
                  </a:cubicBezTo>
                  <a:cubicBezTo>
                    <a:pt x="889" y="1394"/>
                    <a:pt x="1045" y="1238"/>
                    <a:pt x="1045" y="1045"/>
                  </a:cubicBezTo>
                  <a:lnTo>
                    <a:pt x="349" y="1045"/>
                  </a:lnTo>
                  <a:close/>
                  <a:moveTo>
                    <a:pt x="664" y="695"/>
                  </a:moveTo>
                  <a:cubicBezTo>
                    <a:pt x="487" y="679"/>
                    <a:pt x="349" y="530"/>
                    <a:pt x="349" y="348"/>
                  </a:cubicBezTo>
                  <a:cubicBezTo>
                    <a:pt x="156" y="348"/>
                    <a:pt x="0" y="504"/>
                    <a:pt x="0" y="697"/>
                  </a:cubicBezTo>
                  <a:cubicBezTo>
                    <a:pt x="0" y="889"/>
                    <a:pt x="156" y="1045"/>
                    <a:pt x="349" y="1045"/>
                  </a:cubicBezTo>
                  <a:cubicBezTo>
                    <a:pt x="349" y="864"/>
                    <a:pt x="487" y="715"/>
                    <a:pt x="664" y="698"/>
                  </a:cubicBezTo>
                  <a:lnTo>
                    <a:pt x="664" y="695"/>
                  </a:lnTo>
                  <a:close/>
                  <a:moveTo>
                    <a:pt x="730" y="698"/>
                  </a:moveTo>
                  <a:cubicBezTo>
                    <a:pt x="907" y="715"/>
                    <a:pt x="1045" y="864"/>
                    <a:pt x="1045" y="1045"/>
                  </a:cubicBezTo>
                  <a:cubicBezTo>
                    <a:pt x="1238" y="1045"/>
                    <a:pt x="1394" y="889"/>
                    <a:pt x="1394" y="697"/>
                  </a:cubicBezTo>
                  <a:cubicBezTo>
                    <a:pt x="1394" y="504"/>
                    <a:pt x="1238" y="348"/>
                    <a:pt x="1045" y="348"/>
                  </a:cubicBezTo>
                  <a:cubicBezTo>
                    <a:pt x="1045" y="530"/>
                    <a:pt x="907" y="679"/>
                    <a:pt x="730" y="695"/>
                  </a:cubicBezTo>
                  <a:lnTo>
                    <a:pt x="730" y="698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E6E479DC-1D82-43B4-ACAB-A1193C35B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" y="2761"/>
              <a:ext cx="63" cy="59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0AAADE5-3A24-4A24-A5D6-E4A388522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565"/>
              <a:ext cx="875" cy="843"/>
            </a:xfrm>
            <a:custGeom>
              <a:avLst/>
              <a:gdLst>
                <a:gd name="T0" fmla="*/ 437 w 875"/>
                <a:gd name="T1" fmla="*/ 427 h 843"/>
                <a:gd name="T2" fmla="*/ 267 w 875"/>
                <a:gd name="T3" fmla="*/ 0 h 843"/>
                <a:gd name="T4" fmla="*/ 0 w 875"/>
                <a:gd name="T5" fmla="*/ 0 h 843"/>
                <a:gd name="T6" fmla="*/ 0 w 875"/>
                <a:gd name="T7" fmla="*/ 834 h 843"/>
                <a:gd name="T8" fmla="*/ 179 w 875"/>
                <a:gd name="T9" fmla="*/ 834 h 843"/>
                <a:gd name="T10" fmla="*/ 179 w 875"/>
                <a:gd name="T11" fmla="*/ 242 h 843"/>
                <a:gd name="T12" fmla="*/ 437 w 875"/>
                <a:gd name="T13" fmla="*/ 843 h 843"/>
                <a:gd name="T14" fmla="*/ 437 w 875"/>
                <a:gd name="T15" fmla="*/ 843 h 843"/>
                <a:gd name="T16" fmla="*/ 695 w 875"/>
                <a:gd name="T17" fmla="*/ 242 h 843"/>
                <a:gd name="T18" fmla="*/ 695 w 875"/>
                <a:gd name="T19" fmla="*/ 834 h 843"/>
                <a:gd name="T20" fmla="*/ 875 w 875"/>
                <a:gd name="T21" fmla="*/ 834 h 843"/>
                <a:gd name="T22" fmla="*/ 875 w 875"/>
                <a:gd name="T23" fmla="*/ 0 h 843"/>
                <a:gd name="T24" fmla="*/ 609 w 875"/>
                <a:gd name="T25" fmla="*/ 0 h 843"/>
                <a:gd name="T26" fmla="*/ 437 w 875"/>
                <a:gd name="T27" fmla="*/ 42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843">
                  <a:moveTo>
                    <a:pt x="437" y="427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834"/>
                  </a:lnTo>
                  <a:lnTo>
                    <a:pt x="179" y="834"/>
                  </a:lnTo>
                  <a:lnTo>
                    <a:pt x="179" y="242"/>
                  </a:lnTo>
                  <a:lnTo>
                    <a:pt x="437" y="843"/>
                  </a:lnTo>
                  <a:lnTo>
                    <a:pt x="437" y="843"/>
                  </a:lnTo>
                  <a:lnTo>
                    <a:pt x="695" y="242"/>
                  </a:lnTo>
                  <a:lnTo>
                    <a:pt x="695" y="834"/>
                  </a:lnTo>
                  <a:lnTo>
                    <a:pt x="875" y="834"/>
                  </a:lnTo>
                  <a:lnTo>
                    <a:pt x="875" y="0"/>
                  </a:lnTo>
                  <a:lnTo>
                    <a:pt x="609" y="0"/>
                  </a:lnTo>
                  <a:lnTo>
                    <a:pt x="437" y="427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4BA336B8-29D9-4BEB-9A41-41E143201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876"/>
              <a:ext cx="432" cy="290"/>
            </a:xfrm>
            <a:custGeom>
              <a:avLst/>
              <a:gdLst>
                <a:gd name="T0" fmla="*/ 274 w 360"/>
                <a:gd name="T1" fmla="*/ 0 h 241"/>
                <a:gd name="T2" fmla="*/ 195 w 360"/>
                <a:gd name="T3" fmla="*/ 44 h 241"/>
                <a:gd name="T4" fmla="*/ 118 w 360"/>
                <a:gd name="T5" fmla="*/ 0 h 241"/>
                <a:gd name="T6" fmla="*/ 44 w 360"/>
                <a:gd name="T7" fmla="*/ 40 h 241"/>
                <a:gd name="T8" fmla="*/ 44 w 360"/>
                <a:gd name="T9" fmla="*/ 6 h 241"/>
                <a:gd name="T10" fmla="*/ 0 w 360"/>
                <a:gd name="T11" fmla="*/ 6 h 241"/>
                <a:gd name="T12" fmla="*/ 1 w 360"/>
                <a:gd name="T13" fmla="*/ 38 h 241"/>
                <a:gd name="T14" fmla="*/ 1 w 360"/>
                <a:gd name="T15" fmla="*/ 241 h 241"/>
                <a:gd name="T16" fmla="*/ 45 w 360"/>
                <a:gd name="T17" fmla="*/ 241 h 241"/>
                <a:gd name="T18" fmla="*/ 45 w 360"/>
                <a:gd name="T19" fmla="*/ 108 h 241"/>
                <a:gd name="T20" fmla="*/ 55 w 360"/>
                <a:gd name="T21" fmla="*/ 60 h 241"/>
                <a:gd name="T22" fmla="*/ 106 w 360"/>
                <a:gd name="T23" fmla="*/ 35 h 241"/>
                <a:gd name="T24" fmla="*/ 158 w 360"/>
                <a:gd name="T25" fmla="*/ 86 h 241"/>
                <a:gd name="T26" fmla="*/ 158 w 360"/>
                <a:gd name="T27" fmla="*/ 241 h 241"/>
                <a:gd name="T28" fmla="*/ 202 w 360"/>
                <a:gd name="T29" fmla="*/ 241 h 241"/>
                <a:gd name="T30" fmla="*/ 202 w 360"/>
                <a:gd name="T31" fmla="*/ 110 h 241"/>
                <a:gd name="T32" fmla="*/ 212 w 360"/>
                <a:gd name="T33" fmla="*/ 59 h 241"/>
                <a:gd name="T34" fmla="*/ 262 w 360"/>
                <a:gd name="T35" fmla="*/ 35 h 241"/>
                <a:gd name="T36" fmla="*/ 307 w 360"/>
                <a:gd name="T37" fmla="*/ 55 h 241"/>
                <a:gd name="T38" fmla="*/ 315 w 360"/>
                <a:gd name="T39" fmla="*/ 91 h 241"/>
                <a:gd name="T40" fmla="*/ 315 w 360"/>
                <a:gd name="T41" fmla="*/ 241 h 241"/>
                <a:gd name="T42" fmla="*/ 360 w 360"/>
                <a:gd name="T43" fmla="*/ 241 h 241"/>
                <a:gd name="T44" fmla="*/ 360 w 360"/>
                <a:gd name="T45" fmla="*/ 84 h 241"/>
                <a:gd name="T46" fmla="*/ 274 w 360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0" h="241">
                  <a:moveTo>
                    <a:pt x="274" y="0"/>
                  </a:moveTo>
                  <a:cubicBezTo>
                    <a:pt x="222" y="0"/>
                    <a:pt x="203" y="31"/>
                    <a:pt x="195" y="44"/>
                  </a:cubicBezTo>
                  <a:cubicBezTo>
                    <a:pt x="186" y="27"/>
                    <a:pt x="170" y="0"/>
                    <a:pt x="118" y="0"/>
                  </a:cubicBezTo>
                  <a:cubicBezTo>
                    <a:pt x="98" y="0"/>
                    <a:pt x="66" y="4"/>
                    <a:pt x="44" y="4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45" y="241"/>
                    <a:pt x="45" y="241"/>
                    <a:pt x="45" y="241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93"/>
                    <a:pt x="45" y="74"/>
                    <a:pt x="55" y="60"/>
                  </a:cubicBezTo>
                  <a:cubicBezTo>
                    <a:pt x="60" y="53"/>
                    <a:pt x="76" y="35"/>
                    <a:pt x="106" y="35"/>
                  </a:cubicBezTo>
                  <a:cubicBezTo>
                    <a:pt x="141" y="35"/>
                    <a:pt x="158" y="57"/>
                    <a:pt x="158" y="86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110"/>
                    <a:pt x="202" y="110"/>
                    <a:pt x="202" y="110"/>
                  </a:cubicBezTo>
                  <a:cubicBezTo>
                    <a:pt x="202" y="100"/>
                    <a:pt x="202" y="74"/>
                    <a:pt x="212" y="59"/>
                  </a:cubicBezTo>
                  <a:cubicBezTo>
                    <a:pt x="218" y="51"/>
                    <a:pt x="234" y="35"/>
                    <a:pt x="262" y="35"/>
                  </a:cubicBezTo>
                  <a:cubicBezTo>
                    <a:pt x="285" y="35"/>
                    <a:pt x="300" y="44"/>
                    <a:pt x="307" y="55"/>
                  </a:cubicBezTo>
                  <a:cubicBezTo>
                    <a:pt x="311" y="61"/>
                    <a:pt x="315" y="70"/>
                    <a:pt x="315" y="91"/>
                  </a:cubicBezTo>
                  <a:cubicBezTo>
                    <a:pt x="315" y="241"/>
                    <a:pt x="315" y="241"/>
                    <a:pt x="315" y="241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60" y="84"/>
                    <a:pt x="360" y="84"/>
                    <a:pt x="360" y="84"/>
                  </a:cubicBezTo>
                  <a:cubicBezTo>
                    <a:pt x="360" y="14"/>
                    <a:pt x="308" y="0"/>
                    <a:pt x="274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2ACB180-73C5-470D-AEB7-F537C8E1A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9" y="2760"/>
              <a:ext cx="395" cy="406"/>
            </a:xfrm>
            <a:custGeom>
              <a:avLst/>
              <a:gdLst>
                <a:gd name="T0" fmla="*/ 230 w 395"/>
                <a:gd name="T1" fmla="*/ 0 h 406"/>
                <a:gd name="T2" fmla="*/ 170 w 395"/>
                <a:gd name="T3" fmla="*/ 0 h 406"/>
                <a:gd name="T4" fmla="*/ 0 w 395"/>
                <a:gd name="T5" fmla="*/ 406 h 406"/>
                <a:gd name="T6" fmla="*/ 57 w 395"/>
                <a:gd name="T7" fmla="*/ 406 h 406"/>
                <a:gd name="T8" fmla="*/ 102 w 395"/>
                <a:gd name="T9" fmla="*/ 300 h 406"/>
                <a:gd name="T10" fmla="*/ 289 w 395"/>
                <a:gd name="T11" fmla="*/ 300 h 406"/>
                <a:gd name="T12" fmla="*/ 333 w 395"/>
                <a:gd name="T13" fmla="*/ 406 h 406"/>
                <a:gd name="T14" fmla="*/ 395 w 395"/>
                <a:gd name="T15" fmla="*/ 406 h 406"/>
                <a:gd name="T16" fmla="*/ 230 w 395"/>
                <a:gd name="T17" fmla="*/ 0 h 406"/>
                <a:gd name="T18" fmla="*/ 120 w 395"/>
                <a:gd name="T19" fmla="*/ 254 h 406"/>
                <a:gd name="T20" fmla="*/ 198 w 395"/>
                <a:gd name="T21" fmla="*/ 56 h 406"/>
                <a:gd name="T22" fmla="*/ 272 w 395"/>
                <a:gd name="T23" fmla="*/ 254 h 406"/>
                <a:gd name="T24" fmla="*/ 120 w 395"/>
                <a:gd name="T25" fmla="*/ 25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5" h="406">
                  <a:moveTo>
                    <a:pt x="230" y="0"/>
                  </a:moveTo>
                  <a:lnTo>
                    <a:pt x="170" y="0"/>
                  </a:lnTo>
                  <a:lnTo>
                    <a:pt x="0" y="406"/>
                  </a:lnTo>
                  <a:lnTo>
                    <a:pt x="57" y="406"/>
                  </a:lnTo>
                  <a:lnTo>
                    <a:pt x="102" y="300"/>
                  </a:lnTo>
                  <a:lnTo>
                    <a:pt x="289" y="300"/>
                  </a:lnTo>
                  <a:lnTo>
                    <a:pt x="333" y="406"/>
                  </a:lnTo>
                  <a:lnTo>
                    <a:pt x="395" y="406"/>
                  </a:lnTo>
                  <a:lnTo>
                    <a:pt x="230" y="0"/>
                  </a:lnTo>
                  <a:close/>
                  <a:moveTo>
                    <a:pt x="120" y="254"/>
                  </a:moveTo>
                  <a:lnTo>
                    <a:pt x="198" y="56"/>
                  </a:lnTo>
                  <a:lnTo>
                    <a:pt x="272" y="254"/>
                  </a:lnTo>
                  <a:lnTo>
                    <a:pt x="120" y="25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002F31FB-6644-4680-81A4-D78F81C23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" y="2884"/>
              <a:ext cx="51" cy="282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3195A82C-ABD2-4BC6-97D0-AA3EFCE7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879"/>
              <a:ext cx="246" cy="287"/>
            </a:xfrm>
            <a:custGeom>
              <a:avLst/>
              <a:gdLst>
                <a:gd name="T0" fmla="*/ 120 w 205"/>
                <a:gd name="T1" fmla="*/ 0 h 239"/>
                <a:gd name="T2" fmla="*/ 45 w 205"/>
                <a:gd name="T3" fmla="*/ 42 h 239"/>
                <a:gd name="T4" fmla="*/ 44 w 205"/>
                <a:gd name="T5" fmla="*/ 4 h 239"/>
                <a:gd name="T6" fmla="*/ 0 w 205"/>
                <a:gd name="T7" fmla="*/ 4 h 239"/>
                <a:gd name="T8" fmla="*/ 1 w 205"/>
                <a:gd name="T9" fmla="*/ 31 h 239"/>
                <a:gd name="T10" fmla="*/ 1 w 205"/>
                <a:gd name="T11" fmla="*/ 239 h 239"/>
                <a:gd name="T12" fmla="*/ 45 w 205"/>
                <a:gd name="T13" fmla="*/ 239 h 239"/>
                <a:gd name="T14" fmla="*/ 45 w 205"/>
                <a:gd name="T15" fmla="*/ 104 h 239"/>
                <a:gd name="T16" fmla="*/ 106 w 205"/>
                <a:gd name="T17" fmla="*/ 34 h 239"/>
                <a:gd name="T18" fmla="*/ 148 w 205"/>
                <a:gd name="T19" fmla="*/ 50 h 239"/>
                <a:gd name="T20" fmla="*/ 161 w 205"/>
                <a:gd name="T21" fmla="*/ 90 h 239"/>
                <a:gd name="T22" fmla="*/ 161 w 205"/>
                <a:gd name="T23" fmla="*/ 239 h 239"/>
                <a:gd name="T24" fmla="*/ 205 w 205"/>
                <a:gd name="T25" fmla="*/ 239 h 239"/>
                <a:gd name="T26" fmla="*/ 205 w 205"/>
                <a:gd name="T27" fmla="*/ 80 h 239"/>
                <a:gd name="T28" fmla="*/ 120 w 205"/>
                <a:gd name="T2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39">
                  <a:moveTo>
                    <a:pt x="120" y="0"/>
                  </a:moveTo>
                  <a:cubicBezTo>
                    <a:pt x="67" y="0"/>
                    <a:pt x="50" y="33"/>
                    <a:pt x="45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57"/>
                    <a:pt x="74" y="34"/>
                    <a:pt x="106" y="34"/>
                  </a:cubicBezTo>
                  <a:cubicBezTo>
                    <a:pt x="121" y="34"/>
                    <a:pt x="137" y="39"/>
                    <a:pt x="148" y="50"/>
                  </a:cubicBezTo>
                  <a:cubicBezTo>
                    <a:pt x="159" y="60"/>
                    <a:pt x="161" y="74"/>
                    <a:pt x="161" y="90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205" y="239"/>
                    <a:pt x="205" y="239"/>
                    <a:pt x="205" y="23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"/>
                    <a:pt x="141" y="0"/>
                    <a:pt x="120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FE13B05-E7A8-4C1A-970A-810EA9813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1550"/>
              <a:ext cx="644" cy="881"/>
            </a:xfrm>
            <a:custGeom>
              <a:avLst/>
              <a:gdLst>
                <a:gd name="T0" fmla="*/ 5 w 537"/>
                <a:gd name="T1" fmla="*/ 489 h 734"/>
                <a:gd name="T2" fmla="*/ 256 w 537"/>
                <a:gd name="T3" fmla="*/ 730 h 734"/>
                <a:gd name="T4" fmla="*/ 537 w 537"/>
                <a:gd name="T5" fmla="*/ 513 h 734"/>
                <a:gd name="T6" fmla="*/ 291 w 537"/>
                <a:gd name="T7" fmla="*/ 299 h 734"/>
                <a:gd name="T8" fmla="*/ 172 w 537"/>
                <a:gd name="T9" fmla="*/ 203 h 734"/>
                <a:gd name="T10" fmla="*/ 276 w 537"/>
                <a:gd name="T11" fmla="*/ 115 h 734"/>
                <a:gd name="T12" fmla="*/ 384 w 537"/>
                <a:gd name="T13" fmla="*/ 217 h 734"/>
                <a:gd name="T14" fmla="*/ 519 w 537"/>
                <a:gd name="T15" fmla="*/ 217 h 734"/>
                <a:gd name="T16" fmla="*/ 287 w 537"/>
                <a:gd name="T17" fmla="*/ 0 h 734"/>
                <a:gd name="T18" fmla="*/ 24 w 537"/>
                <a:gd name="T19" fmla="*/ 216 h 734"/>
                <a:gd name="T20" fmla="*/ 239 w 537"/>
                <a:gd name="T21" fmla="*/ 423 h 734"/>
                <a:gd name="T22" fmla="*/ 389 w 537"/>
                <a:gd name="T23" fmla="*/ 524 h 734"/>
                <a:gd name="T24" fmla="*/ 257 w 537"/>
                <a:gd name="T25" fmla="*/ 617 h 734"/>
                <a:gd name="T26" fmla="*/ 148 w 537"/>
                <a:gd name="T27" fmla="*/ 489 h 734"/>
                <a:gd name="T28" fmla="*/ 5 w 537"/>
                <a:gd name="T29" fmla="*/ 489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" h="734">
                  <a:moveTo>
                    <a:pt x="5" y="489"/>
                  </a:moveTo>
                  <a:cubicBezTo>
                    <a:pt x="0" y="663"/>
                    <a:pt x="118" y="727"/>
                    <a:pt x="256" y="730"/>
                  </a:cubicBezTo>
                  <a:cubicBezTo>
                    <a:pt x="415" y="734"/>
                    <a:pt x="537" y="666"/>
                    <a:pt x="537" y="513"/>
                  </a:cubicBezTo>
                  <a:cubicBezTo>
                    <a:pt x="537" y="359"/>
                    <a:pt x="399" y="334"/>
                    <a:pt x="291" y="299"/>
                  </a:cubicBezTo>
                  <a:cubicBezTo>
                    <a:pt x="249" y="286"/>
                    <a:pt x="172" y="274"/>
                    <a:pt x="172" y="203"/>
                  </a:cubicBezTo>
                  <a:cubicBezTo>
                    <a:pt x="172" y="143"/>
                    <a:pt x="223" y="115"/>
                    <a:pt x="276" y="115"/>
                  </a:cubicBezTo>
                  <a:cubicBezTo>
                    <a:pt x="344" y="115"/>
                    <a:pt x="379" y="148"/>
                    <a:pt x="384" y="217"/>
                  </a:cubicBezTo>
                  <a:cubicBezTo>
                    <a:pt x="519" y="217"/>
                    <a:pt x="519" y="217"/>
                    <a:pt x="519" y="217"/>
                  </a:cubicBezTo>
                  <a:cubicBezTo>
                    <a:pt x="519" y="80"/>
                    <a:pt x="413" y="0"/>
                    <a:pt x="287" y="0"/>
                  </a:cubicBezTo>
                  <a:cubicBezTo>
                    <a:pt x="161" y="0"/>
                    <a:pt x="24" y="73"/>
                    <a:pt x="24" y="216"/>
                  </a:cubicBezTo>
                  <a:cubicBezTo>
                    <a:pt x="24" y="340"/>
                    <a:pt x="161" y="403"/>
                    <a:pt x="239" y="423"/>
                  </a:cubicBezTo>
                  <a:cubicBezTo>
                    <a:pt x="281" y="434"/>
                    <a:pt x="389" y="447"/>
                    <a:pt x="389" y="524"/>
                  </a:cubicBezTo>
                  <a:cubicBezTo>
                    <a:pt x="389" y="597"/>
                    <a:pt x="313" y="617"/>
                    <a:pt x="257" y="617"/>
                  </a:cubicBezTo>
                  <a:cubicBezTo>
                    <a:pt x="184" y="617"/>
                    <a:pt x="142" y="566"/>
                    <a:pt x="148" y="489"/>
                  </a:cubicBezTo>
                  <a:lnTo>
                    <a:pt x="5" y="489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DB7576C3-D873-493D-BD6E-207534734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2807"/>
              <a:ext cx="166" cy="363"/>
            </a:xfrm>
            <a:custGeom>
              <a:avLst/>
              <a:gdLst>
                <a:gd name="T0" fmla="*/ 86 w 138"/>
                <a:gd name="T1" fmla="*/ 0 h 303"/>
                <a:gd name="T2" fmla="*/ 42 w 138"/>
                <a:gd name="T3" fmla="*/ 14 h 303"/>
                <a:gd name="T4" fmla="*/ 42 w 138"/>
                <a:gd name="T5" fmla="*/ 64 h 303"/>
                <a:gd name="T6" fmla="*/ 0 w 138"/>
                <a:gd name="T7" fmla="*/ 64 h 303"/>
                <a:gd name="T8" fmla="*/ 0 w 138"/>
                <a:gd name="T9" fmla="*/ 96 h 303"/>
                <a:gd name="T10" fmla="*/ 42 w 138"/>
                <a:gd name="T11" fmla="*/ 96 h 303"/>
                <a:gd name="T12" fmla="*/ 42 w 138"/>
                <a:gd name="T13" fmla="*/ 252 h 303"/>
                <a:gd name="T14" fmla="*/ 101 w 138"/>
                <a:gd name="T15" fmla="*/ 303 h 303"/>
                <a:gd name="T16" fmla="*/ 138 w 138"/>
                <a:gd name="T17" fmla="*/ 300 h 303"/>
                <a:gd name="T18" fmla="*/ 138 w 138"/>
                <a:gd name="T19" fmla="*/ 266 h 303"/>
                <a:gd name="T20" fmla="*/ 117 w 138"/>
                <a:gd name="T21" fmla="*/ 268 h 303"/>
                <a:gd name="T22" fmla="*/ 86 w 138"/>
                <a:gd name="T23" fmla="*/ 237 h 303"/>
                <a:gd name="T24" fmla="*/ 86 w 138"/>
                <a:gd name="T25" fmla="*/ 96 h 303"/>
                <a:gd name="T26" fmla="*/ 138 w 138"/>
                <a:gd name="T27" fmla="*/ 96 h 303"/>
                <a:gd name="T28" fmla="*/ 138 w 138"/>
                <a:gd name="T29" fmla="*/ 63 h 303"/>
                <a:gd name="T30" fmla="*/ 86 w 138"/>
                <a:gd name="T31" fmla="*/ 63 h 303"/>
                <a:gd name="T32" fmla="*/ 86 w 138"/>
                <a:gd name="T3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303">
                  <a:moveTo>
                    <a:pt x="86" y="0"/>
                  </a:moveTo>
                  <a:cubicBezTo>
                    <a:pt x="42" y="14"/>
                    <a:pt x="42" y="14"/>
                    <a:pt x="42" y="1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2" y="291"/>
                    <a:pt x="61" y="303"/>
                    <a:pt x="101" y="303"/>
                  </a:cubicBezTo>
                  <a:cubicBezTo>
                    <a:pt x="117" y="303"/>
                    <a:pt x="130" y="301"/>
                    <a:pt x="138" y="300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4" y="267"/>
                    <a:pt x="126" y="268"/>
                    <a:pt x="117" y="268"/>
                  </a:cubicBezTo>
                  <a:cubicBezTo>
                    <a:pt x="86" y="268"/>
                    <a:pt x="86" y="249"/>
                    <a:pt x="86" y="237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0"/>
                    <a:pt x="86" y="0"/>
                    <a:pt x="86" y="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652258E4-E1D3-4B32-9DDB-D22C6BF12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A9BD15A0-0112-40E6-AF77-05C00E927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8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5 w 199"/>
                <a:gd name="T7" fmla="*/ 0 h 249"/>
                <a:gd name="T8" fmla="*/ 30 w 199"/>
                <a:gd name="T9" fmla="*/ 26 h 249"/>
                <a:gd name="T10" fmla="*/ 13 w 199"/>
                <a:gd name="T11" fmla="*/ 70 h 249"/>
                <a:gd name="T12" fmla="*/ 57 w 199"/>
                <a:gd name="T13" fmla="*/ 70 h 249"/>
                <a:gd name="T14" fmla="*/ 104 w 199"/>
                <a:gd name="T15" fmla="*/ 30 h 249"/>
                <a:gd name="T16" fmla="*/ 145 w 199"/>
                <a:gd name="T17" fmla="*/ 46 h 249"/>
                <a:gd name="T18" fmla="*/ 154 w 199"/>
                <a:gd name="T19" fmla="*/ 98 h 249"/>
                <a:gd name="T20" fmla="*/ 122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2 w 199"/>
                <a:gd name="T27" fmla="*/ 249 h 249"/>
                <a:gd name="T28" fmla="*/ 155 w 199"/>
                <a:gd name="T29" fmla="*/ 207 h 249"/>
                <a:gd name="T30" fmla="*/ 159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2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2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6" y="49"/>
                    <a:pt x="189" y="35"/>
                  </a:cubicBezTo>
                  <a:cubicBezTo>
                    <a:pt x="176" y="11"/>
                    <a:pt x="140" y="0"/>
                    <a:pt x="105" y="0"/>
                  </a:cubicBezTo>
                  <a:cubicBezTo>
                    <a:pt x="81" y="0"/>
                    <a:pt x="48" y="6"/>
                    <a:pt x="30" y="26"/>
                  </a:cubicBezTo>
                  <a:cubicBezTo>
                    <a:pt x="16" y="41"/>
                    <a:pt x="15" y="58"/>
                    <a:pt x="13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8" y="61"/>
                    <a:pt x="60" y="30"/>
                    <a:pt x="104" y="30"/>
                  </a:cubicBezTo>
                  <a:cubicBezTo>
                    <a:pt x="117" y="30"/>
                    <a:pt x="136" y="34"/>
                    <a:pt x="145" y="46"/>
                  </a:cubicBezTo>
                  <a:cubicBezTo>
                    <a:pt x="154" y="56"/>
                    <a:pt x="154" y="69"/>
                    <a:pt x="154" y="98"/>
                  </a:cubicBezTo>
                  <a:cubicBezTo>
                    <a:pt x="140" y="97"/>
                    <a:pt x="133" y="96"/>
                    <a:pt x="122" y="96"/>
                  </a:cubicBezTo>
                  <a:cubicBezTo>
                    <a:pt x="103" y="96"/>
                    <a:pt x="66" y="98"/>
                    <a:pt x="41" y="112"/>
                  </a:cubicBezTo>
                  <a:cubicBezTo>
                    <a:pt x="6" y="132"/>
                    <a:pt x="0" y="162"/>
                    <a:pt x="0" y="180"/>
                  </a:cubicBezTo>
                  <a:cubicBezTo>
                    <a:pt x="0" y="219"/>
                    <a:pt x="29" y="249"/>
                    <a:pt x="82" y="249"/>
                  </a:cubicBezTo>
                  <a:cubicBezTo>
                    <a:pt x="102" y="249"/>
                    <a:pt x="134" y="246"/>
                    <a:pt x="155" y="207"/>
                  </a:cubicBezTo>
                  <a:cubicBezTo>
                    <a:pt x="155" y="219"/>
                    <a:pt x="156" y="230"/>
                    <a:pt x="159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5" y="218"/>
                    <a:pt x="195" y="187"/>
                    <a:pt x="195" y="183"/>
                  </a:cubicBezTo>
                  <a:close/>
                  <a:moveTo>
                    <a:pt x="142" y="190"/>
                  </a:moveTo>
                  <a:cubicBezTo>
                    <a:pt x="132" y="206"/>
                    <a:pt x="115" y="215"/>
                    <a:pt x="93" y="215"/>
                  </a:cubicBezTo>
                  <a:cubicBezTo>
                    <a:pt x="53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39" y="127"/>
                    <a:pt x="146" y="127"/>
                    <a:pt x="154" y="128"/>
                  </a:cubicBezTo>
                  <a:cubicBezTo>
                    <a:pt x="153" y="161"/>
                    <a:pt x="152" y="174"/>
                    <a:pt x="142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6CD71C6C-008D-42B8-9E98-9CF85F61E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" y="2761"/>
              <a:ext cx="242" cy="405"/>
            </a:xfrm>
            <a:custGeom>
              <a:avLst/>
              <a:gdLst>
                <a:gd name="T0" fmla="*/ 195 w 202"/>
                <a:gd name="T1" fmla="*/ 135 h 337"/>
                <a:gd name="T2" fmla="*/ 121 w 202"/>
                <a:gd name="T3" fmla="*/ 98 h 337"/>
                <a:gd name="T4" fmla="*/ 44 w 202"/>
                <a:gd name="T5" fmla="*/ 137 h 337"/>
                <a:gd name="T6" fmla="*/ 44 w 202"/>
                <a:gd name="T7" fmla="*/ 0 h 337"/>
                <a:gd name="T8" fmla="*/ 0 w 202"/>
                <a:gd name="T9" fmla="*/ 0 h 337"/>
                <a:gd name="T10" fmla="*/ 0 w 202"/>
                <a:gd name="T11" fmla="*/ 337 h 337"/>
                <a:gd name="T12" fmla="*/ 44 w 202"/>
                <a:gd name="T13" fmla="*/ 337 h 337"/>
                <a:gd name="T14" fmla="*/ 44 w 202"/>
                <a:gd name="T15" fmla="*/ 212 h 337"/>
                <a:gd name="T16" fmla="*/ 52 w 202"/>
                <a:gd name="T17" fmla="*/ 163 h 337"/>
                <a:gd name="T18" fmla="*/ 107 w 202"/>
                <a:gd name="T19" fmla="*/ 131 h 337"/>
                <a:gd name="T20" fmla="*/ 158 w 202"/>
                <a:gd name="T21" fmla="*/ 198 h 337"/>
                <a:gd name="T22" fmla="*/ 158 w 202"/>
                <a:gd name="T23" fmla="*/ 337 h 337"/>
                <a:gd name="T24" fmla="*/ 202 w 202"/>
                <a:gd name="T25" fmla="*/ 337 h 337"/>
                <a:gd name="T26" fmla="*/ 202 w 202"/>
                <a:gd name="T27" fmla="*/ 190 h 337"/>
                <a:gd name="T28" fmla="*/ 195 w 202"/>
                <a:gd name="T29" fmla="*/ 13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337">
                  <a:moveTo>
                    <a:pt x="195" y="135"/>
                  </a:moveTo>
                  <a:cubicBezTo>
                    <a:pt x="181" y="107"/>
                    <a:pt x="145" y="98"/>
                    <a:pt x="121" y="98"/>
                  </a:cubicBezTo>
                  <a:cubicBezTo>
                    <a:pt x="88" y="98"/>
                    <a:pt x="59" y="112"/>
                    <a:pt x="44" y="13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198"/>
                    <a:pt x="44" y="176"/>
                    <a:pt x="52" y="163"/>
                  </a:cubicBezTo>
                  <a:cubicBezTo>
                    <a:pt x="58" y="151"/>
                    <a:pt x="74" y="131"/>
                    <a:pt x="107" y="131"/>
                  </a:cubicBezTo>
                  <a:cubicBezTo>
                    <a:pt x="158" y="131"/>
                    <a:pt x="158" y="177"/>
                    <a:pt x="158" y="198"/>
                  </a:cubicBezTo>
                  <a:cubicBezTo>
                    <a:pt x="158" y="337"/>
                    <a:pt x="158" y="337"/>
                    <a:pt x="158" y="337"/>
                  </a:cubicBezTo>
                  <a:cubicBezTo>
                    <a:pt x="202" y="337"/>
                    <a:pt x="202" y="337"/>
                    <a:pt x="202" y="337"/>
                  </a:cubicBezTo>
                  <a:cubicBezTo>
                    <a:pt x="202" y="190"/>
                    <a:pt x="202" y="190"/>
                    <a:pt x="202" y="190"/>
                  </a:cubicBezTo>
                  <a:cubicBezTo>
                    <a:pt x="202" y="156"/>
                    <a:pt x="199" y="145"/>
                    <a:pt x="195" y="135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8E2B7B8E-F8C0-431B-A18A-560474B6A8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2876"/>
              <a:ext cx="258" cy="298"/>
            </a:xfrm>
            <a:custGeom>
              <a:avLst/>
              <a:gdLst>
                <a:gd name="T0" fmla="*/ 110 w 215"/>
                <a:gd name="T1" fmla="*/ 0 h 248"/>
                <a:gd name="T2" fmla="*/ 46 w 215"/>
                <a:gd name="T3" fmla="*/ 18 h 248"/>
                <a:gd name="T4" fmla="*/ 0 w 215"/>
                <a:gd name="T5" fmla="*/ 128 h 248"/>
                <a:gd name="T6" fmla="*/ 109 w 215"/>
                <a:gd name="T7" fmla="*/ 248 h 248"/>
                <a:gd name="T8" fmla="*/ 190 w 215"/>
                <a:gd name="T9" fmla="*/ 217 h 248"/>
                <a:gd name="T10" fmla="*/ 210 w 215"/>
                <a:gd name="T11" fmla="*/ 167 h 248"/>
                <a:gd name="T12" fmla="*/ 166 w 215"/>
                <a:gd name="T13" fmla="*/ 167 h 248"/>
                <a:gd name="T14" fmla="*/ 111 w 215"/>
                <a:gd name="T15" fmla="*/ 216 h 248"/>
                <a:gd name="T16" fmla="*/ 43 w 215"/>
                <a:gd name="T17" fmla="*/ 131 h 248"/>
                <a:gd name="T18" fmla="*/ 212 w 215"/>
                <a:gd name="T19" fmla="*/ 131 h 248"/>
                <a:gd name="T20" fmla="*/ 110 w 215"/>
                <a:gd name="T21" fmla="*/ 0 h 248"/>
                <a:gd name="T22" fmla="*/ 45 w 215"/>
                <a:gd name="T23" fmla="*/ 101 h 248"/>
                <a:gd name="T24" fmla="*/ 109 w 215"/>
                <a:gd name="T25" fmla="*/ 32 h 248"/>
                <a:gd name="T26" fmla="*/ 167 w 215"/>
                <a:gd name="T27" fmla="*/ 101 h 248"/>
                <a:gd name="T28" fmla="*/ 45 w 215"/>
                <a:gd name="T29" fmla="*/ 10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" h="248">
                  <a:moveTo>
                    <a:pt x="110" y="0"/>
                  </a:moveTo>
                  <a:cubicBezTo>
                    <a:pt x="97" y="0"/>
                    <a:pt x="69" y="2"/>
                    <a:pt x="46" y="18"/>
                  </a:cubicBezTo>
                  <a:cubicBezTo>
                    <a:pt x="9" y="43"/>
                    <a:pt x="0" y="82"/>
                    <a:pt x="0" y="128"/>
                  </a:cubicBezTo>
                  <a:cubicBezTo>
                    <a:pt x="0" y="202"/>
                    <a:pt x="35" y="248"/>
                    <a:pt x="109" y="248"/>
                  </a:cubicBezTo>
                  <a:cubicBezTo>
                    <a:pt x="156" y="248"/>
                    <a:pt x="179" y="228"/>
                    <a:pt x="190" y="217"/>
                  </a:cubicBezTo>
                  <a:cubicBezTo>
                    <a:pt x="207" y="198"/>
                    <a:pt x="209" y="179"/>
                    <a:pt x="21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2" y="201"/>
                    <a:pt x="139" y="216"/>
                    <a:pt x="111" y="216"/>
                  </a:cubicBezTo>
                  <a:cubicBezTo>
                    <a:pt x="63" y="216"/>
                    <a:pt x="43" y="180"/>
                    <a:pt x="43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3" y="93"/>
                    <a:pt x="215" y="0"/>
                    <a:pt x="110" y="0"/>
                  </a:cubicBezTo>
                  <a:close/>
                  <a:moveTo>
                    <a:pt x="45" y="101"/>
                  </a:moveTo>
                  <a:cubicBezTo>
                    <a:pt x="46" y="49"/>
                    <a:pt x="81" y="32"/>
                    <a:pt x="109" y="32"/>
                  </a:cubicBezTo>
                  <a:cubicBezTo>
                    <a:pt x="164" y="32"/>
                    <a:pt x="168" y="78"/>
                    <a:pt x="167" y="101"/>
                  </a:cubicBezTo>
                  <a:lnTo>
                    <a:pt x="45" y="101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D48B824-2B9D-49DA-A65F-2E35720AC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" y="1564"/>
              <a:ext cx="713" cy="835"/>
            </a:xfrm>
            <a:custGeom>
              <a:avLst/>
              <a:gdLst>
                <a:gd name="T0" fmla="*/ 222 w 594"/>
                <a:gd name="T1" fmla="*/ 0 h 696"/>
                <a:gd name="T2" fmla="*/ 0 w 594"/>
                <a:gd name="T3" fmla="*/ 0 h 696"/>
                <a:gd name="T4" fmla="*/ 0 w 594"/>
                <a:gd name="T5" fmla="*/ 696 h 696"/>
                <a:gd name="T6" fmla="*/ 222 w 594"/>
                <a:gd name="T7" fmla="*/ 696 h 696"/>
                <a:gd name="T8" fmla="*/ 594 w 594"/>
                <a:gd name="T9" fmla="*/ 349 h 696"/>
                <a:gd name="T10" fmla="*/ 222 w 594"/>
                <a:gd name="T11" fmla="*/ 0 h 696"/>
                <a:gd name="T12" fmla="*/ 212 w 594"/>
                <a:gd name="T13" fmla="*/ 570 h 696"/>
                <a:gd name="T14" fmla="*/ 150 w 594"/>
                <a:gd name="T15" fmla="*/ 570 h 696"/>
                <a:gd name="T16" fmla="*/ 150 w 594"/>
                <a:gd name="T17" fmla="*/ 128 h 696"/>
                <a:gd name="T18" fmla="*/ 212 w 594"/>
                <a:gd name="T19" fmla="*/ 128 h 696"/>
                <a:gd name="T20" fmla="*/ 442 w 594"/>
                <a:gd name="T21" fmla="*/ 349 h 696"/>
                <a:gd name="T22" fmla="*/ 212 w 594"/>
                <a:gd name="T23" fmla="*/ 57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4" h="696">
                  <a:moveTo>
                    <a:pt x="2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222" y="696"/>
                    <a:pt x="222" y="696"/>
                    <a:pt x="222" y="696"/>
                  </a:cubicBezTo>
                  <a:cubicBezTo>
                    <a:pt x="407" y="696"/>
                    <a:pt x="594" y="590"/>
                    <a:pt x="594" y="349"/>
                  </a:cubicBezTo>
                  <a:cubicBezTo>
                    <a:pt x="594" y="108"/>
                    <a:pt x="407" y="0"/>
                    <a:pt x="222" y="0"/>
                  </a:cubicBezTo>
                  <a:close/>
                  <a:moveTo>
                    <a:pt x="212" y="570"/>
                  </a:moveTo>
                  <a:cubicBezTo>
                    <a:pt x="150" y="570"/>
                    <a:pt x="150" y="570"/>
                    <a:pt x="150" y="57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381" y="128"/>
                    <a:pt x="442" y="238"/>
                    <a:pt x="442" y="349"/>
                  </a:cubicBezTo>
                  <a:cubicBezTo>
                    <a:pt x="442" y="459"/>
                    <a:pt x="381" y="570"/>
                    <a:pt x="212" y="57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19">
              <a:extLst>
                <a:ext uri="{FF2B5EF4-FFF2-40B4-BE49-F238E27FC236}">
                  <a16:creationId xmlns:a16="http://schemas.microsoft.com/office/drawing/2014/main" id="{850AD633-0E06-4720-B742-1BC2192D9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" y="2761"/>
              <a:ext cx="53" cy="405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B9F4E602-EBA2-4BA8-91C9-0F7A8A156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" y="2760"/>
              <a:ext cx="304" cy="406"/>
            </a:xfrm>
            <a:custGeom>
              <a:avLst/>
              <a:gdLst>
                <a:gd name="T0" fmla="*/ 248 w 304"/>
                <a:gd name="T1" fmla="*/ 174 h 406"/>
                <a:gd name="T2" fmla="*/ 56 w 304"/>
                <a:gd name="T3" fmla="*/ 174 h 406"/>
                <a:gd name="T4" fmla="*/ 56 w 304"/>
                <a:gd name="T5" fmla="*/ 0 h 406"/>
                <a:gd name="T6" fmla="*/ 0 w 304"/>
                <a:gd name="T7" fmla="*/ 0 h 406"/>
                <a:gd name="T8" fmla="*/ 0 w 304"/>
                <a:gd name="T9" fmla="*/ 406 h 406"/>
                <a:gd name="T10" fmla="*/ 56 w 304"/>
                <a:gd name="T11" fmla="*/ 406 h 406"/>
                <a:gd name="T12" fmla="*/ 56 w 304"/>
                <a:gd name="T13" fmla="*/ 223 h 406"/>
                <a:gd name="T14" fmla="*/ 248 w 304"/>
                <a:gd name="T15" fmla="*/ 223 h 406"/>
                <a:gd name="T16" fmla="*/ 248 w 304"/>
                <a:gd name="T17" fmla="*/ 406 h 406"/>
                <a:gd name="T18" fmla="*/ 304 w 304"/>
                <a:gd name="T19" fmla="*/ 406 h 406"/>
                <a:gd name="T20" fmla="*/ 304 w 304"/>
                <a:gd name="T21" fmla="*/ 0 h 406"/>
                <a:gd name="T22" fmla="*/ 248 w 304"/>
                <a:gd name="T23" fmla="*/ 0 h 406"/>
                <a:gd name="T24" fmla="*/ 248 w 304"/>
                <a:gd name="T25" fmla="*/ 17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4" h="406">
                  <a:moveTo>
                    <a:pt x="248" y="174"/>
                  </a:moveTo>
                  <a:lnTo>
                    <a:pt x="56" y="174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406"/>
                  </a:lnTo>
                  <a:lnTo>
                    <a:pt x="56" y="406"/>
                  </a:lnTo>
                  <a:lnTo>
                    <a:pt x="56" y="223"/>
                  </a:lnTo>
                  <a:lnTo>
                    <a:pt x="248" y="223"/>
                  </a:lnTo>
                  <a:lnTo>
                    <a:pt x="248" y="406"/>
                  </a:lnTo>
                  <a:lnTo>
                    <a:pt x="304" y="406"/>
                  </a:lnTo>
                  <a:lnTo>
                    <a:pt x="304" y="0"/>
                  </a:lnTo>
                  <a:lnTo>
                    <a:pt x="248" y="0"/>
                  </a:lnTo>
                  <a:lnTo>
                    <a:pt x="248" y="174"/>
                  </a:ln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7D9ADF4A-C3C2-4327-A2C2-5FC31F755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" y="2875"/>
              <a:ext cx="239" cy="299"/>
            </a:xfrm>
            <a:custGeom>
              <a:avLst/>
              <a:gdLst>
                <a:gd name="T0" fmla="*/ 195 w 199"/>
                <a:gd name="T1" fmla="*/ 183 h 249"/>
                <a:gd name="T2" fmla="*/ 197 w 199"/>
                <a:gd name="T3" fmla="*/ 71 h 249"/>
                <a:gd name="T4" fmla="*/ 189 w 199"/>
                <a:gd name="T5" fmla="*/ 35 h 249"/>
                <a:gd name="T6" fmla="*/ 106 w 199"/>
                <a:gd name="T7" fmla="*/ 0 h 249"/>
                <a:gd name="T8" fmla="*/ 31 w 199"/>
                <a:gd name="T9" fmla="*/ 26 h 249"/>
                <a:gd name="T10" fmla="*/ 14 w 199"/>
                <a:gd name="T11" fmla="*/ 70 h 249"/>
                <a:gd name="T12" fmla="*/ 58 w 199"/>
                <a:gd name="T13" fmla="*/ 70 h 249"/>
                <a:gd name="T14" fmla="*/ 105 w 199"/>
                <a:gd name="T15" fmla="*/ 30 h 249"/>
                <a:gd name="T16" fmla="*/ 146 w 199"/>
                <a:gd name="T17" fmla="*/ 46 h 249"/>
                <a:gd name="T18" fmla="*/ 155 w 199"/>
                <a:gd name="T19" fmla="*/ 98 h 249"/>
                <a:gd name="T20" fmla="*/ 123 w 199"/>
                <a:gd name="T21" fmla="*/ 96 h 249"/>
                <a:gd name="T22" fmla="*/ 41 w 199"/>
                <a:gd name="T23" fmla="*/ 112 h 249"/>
                <a:gd name="T24" fmla="*/ 0 w 199"/>
                <a:gd name="T25" fmla="*/ 180 h 249"/>
                <a:gd name="T26" fmla="*/ 83 w 199"/>
                <a:gd name="T27" fmla="*/ 249 h 249"/>
                <a:gd name="T28" fmla="*/ 156 w 199"/>
                <a:gd name="T29" fmla="*/ 207 h 249"/>
                <a:gd name="T30" fmla="*/ 160 w 199"/>
                <a:gd name="T31" fmla="*/ 242 h 249"/>
                <a:gd name="T32" fmla="*/ 199 w 199"/>
                <a:gd name="T33" fmla="*/ 242 h 249"/>
                <a:gd name="T34" fmla="*/ 195 w 199"/>
                <a:gd name="T35" fmla="*/ 183 h 249"/>
                <a:gd name="T36" fmla="*/ 143 w 199"/>
                <a:gd name="T37" fmla="*/ 190 h 249"/>
                <a:gd name="T38" fmla="*/ 93 w 199"/>
                <a:gd name="T39" fmla="*/ 215 h 249"/>
                <a:gd name="T40" fmla="*/ 44 w 199"/>
                <a:gd name="T41" fmla="*/ 174 h 249"/>
                <a:gd name="T42" fmla="*/ 129 w 199"/>
                <a:gd name="T43" fmla="*/ 127 h 249"/>
                <a:gd name="T44" fmla="*/ 154 w 199"/>
                <a:gd name="T45" fmla="*/ 128 h 249"/>
                <a:gd name="T46" fmla="*/ 143 w 199"/>
                <a:gd name="T47" fmla="*/ 19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249">
                  <a:moveTo>
                    <a:pt x="195" y="183"/>
                  </a:moveTo>
                  <a:cubicBezTo>
                    <a:pt x="197" y="71"/>
                    <a:pt x="197" y="71"/>
                    <a:pt x="197" y="71"/>
                  </a:cubicBezTo>
                  <a:cubicBezTo>
                    <a:pt x="197" y="60"/>
                    <a:pt x="197" y="49"/>
                    <a:pt x="189" y="35"/>
                  </a:cubicBezTo>
                  <a:cubicBezTo>
                    <a:pt x="177" y="11"/>
                    <a:pt x="140" y="0"/>
                    <a:pt x="106" y="0"/>
                  </a:cubicBezTo>
                  <a:cubicBezTo>
                    <a:pt x="81" y="0"/>
                    <a:pt x="48" y="6"/>
                    <a:pt x="31" y="26"/>
                  </a:cubicBezTo>
                  <a:cubicBezTo>
                    <a:pt x="17" y="41"/>
                    <a:pt x="16" y="58"/>
                    <a:pt x="14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9" y="61"/>
                    <a:pt x="61" y="30"/>
                    <a:pt x="105" y="30"/>
                  </a:cubicBezTo>
                  <a:cubicBezTo>
                    <a:pt x="118" y="30"/>
                    <a:pt x="137" y="34"/>
                    <a:pt x="146" y="46"/>
                  </a:cubicBezTo>
                  <a:cubicBezTo>
                    <a:pt x="155" y="56"/>
                    <a:pt x="155" y="69"/>
                    <a:pt x="155" y="98"/>
                  </a:cubicBezTo>
                  <a:cubicBezTo>
                    <a:pt x="141" y="97"/>
                    <a:pt x="134" y="96"/>
                    <a:pt x="123" y="96"/>
                  </a:cubicBezTo>
                  <a:cubicBezTo>
                    <a:pt x="104" y="96"/>
                    <a:pt x="67" y="98"/>
                    <a:pt x="41" y="112"/>
                  </a:cubicBezTo>
                  <a:cubicBezTo>
                    <a:pt x="7" y="132"/>
                    <a:pt x="0" y="162"/>
                    <a:pt x="0" y="180"/>
                  </a:cubicBezTo>
                  <a:cubicBezTo>
                    <a:pt x="0" y="219"/>
                    <a:pt x="29" y="249"/>
                    <a:pt x="83" y="249"/>
                  </a:cubicBezTo>
                  <a:cubicBezTo>
                    <a:pt x="103" y="249"/>
                    <a:pt x="134" y="246"/>
                    <a:pt x="156" y="207"/>
                  </a:cubicBezTo>
                  <a:cubicBezTo>
                    <a:pt x="156" y="219"/>
                    <a:pt x="157" y="230"/>
                    <a:pt x="160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6" y="218"/>
                    <a:pt x="195" y="187"/>
                    <a:pt x="195" y="183"/>
                  </a:cubicBezTo>
                  <a:close/>
                  <a:moveTo>
                    <a:pt x="143" y="190"/>
                  </a:moveTo>
                  <a:cubicBezTo>
                    <a:pt x="132" y="206"/>
                    <a:pt x="116" y="215"/>
                    <a:pt x="93" y="215"/>
                  </a:cubicBezTo>
                  <a:cubicBezTo>
                    <a:pt x="54" y="215"/>
                    <a:pt x="44" y="189"/>
                    <a:pt x="44" y="174"/>
                  </a:cubicBezTo>
                  <a:cubicBezTo>
                    <a:pt x="44" y="127"/>
                    <a:pt x="111" y="127"/>
                    <a:pt x="129" y="127"/>
                  </a:cubicBezTo>
                  <a:cubicBezTo>
                    <a:pt x="140" y="127"/>
                    <a:pt x="146" y="127"/>
                    <a:pt x="154" y="128"/>
                  </a:cubicBezTo>
                  <a:cubicBezTo>
                    <a:pt x="153" y="161"/>
                    <a:pt x="153" y="174"/>
                    <a:pt x="143" y="190"/>
                  </a:cubicBezTo>
                  <a:close/>
                </a:path>
              </a:pathLst>
            </a:custGeom>
            <a:solidFill>
              <a:srgbClr val="374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0D5B13E-55C6-45FD-9A15-42DE1B096463}"/>
              </a:ext>
            </a:extLst>
          </p:cNvPr>
          <p:cNvCxnSpPr>
            <a:cxnSpLocks/>
          </p:cNvCxnSpPr>
          <p:nvPr userDrawn="1"/>
        </p:nvCxnSpPr>
        <p:spPr>
          <a:xfrm>
            <a:off x="3051313" y="516835"/>
            <a:ext cx="0" cy="55410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83410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.xml"/><Relationship Id="rId61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oleObject" Target="../embeddings/oleObject2.bin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image" Target="../media/image3.emf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77A752-464B-8707-A813-B5F4F2661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384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77A752-464B-8707-A813-B5F4F2661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6D5F5B-9071-75D0-1CB2-954DE2CA9161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42900" y="1244304"/>
            <a:ext cx="11506200" cy="4699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939041-D378-5FF8-6F57-FE3EC4AE3B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2292" y="6427935"/>
            <a:ext cx="552158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 spc="-4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footer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80D2F-EC10-A5CD-3076-DC27D3B490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058" y="6427934"/>
            <a:ext cx="24704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 spc="-40" baseline="0">
                <a:solidFill>
                  <a:schemeClr val="tx1"/>
                </a:solidFill>
              </a:defRPr>
            </a:lvl1pPr>
          </a:lstStyle>
          <a:p>
            <a:fld id="{0AE1FFAB-E171-455B-9038-C4EED3267AD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65652FBA-2D4B-C230-21E5-6B88171D4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326163"/>
            <a:ext cx="11506200" cy="4154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11517654-4043-54C2-41C8-783D186F0B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74" y="6090844"/>
            <a:ext cx="1495395" cy="696854"/>
          </a:xfrm>
          <a:prstGeom prst="rect">
            <a:avLst/>
          </a:prstGeom>
        </p:spPr>
      </p:pic>
      <p:sp>
        <p:nvSpPr>
          <p:cNvPr id="2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58E7722-4C6A-0A71-BC39-0AC48A08CA0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CO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s-CO" sz="1200" err="1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70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500" kern="1200" spc="-40" baseline="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 spc="-40" baseline="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800" kern="1200" spc="-40" baseline="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500" kern="1200" spc="-40" baseline="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500" kern="1200" spc="-4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5" orient="horz" pos="192">
          <p15:clr>
            <a:srgbClr val="F26B43"/>
          </p15:clr>
        </p15:guide>
        <p15:guide id="6" orient="horz" pos="4128">
          <p15:clr>
            <a:srgbClr val="F26B43"/>
          </p15:clr>
        </p15:guide>
        <p15:guide id="8" pos="2256">
          <p15:clr>
            <a:srgbClr val="547EBF"/>
          </p15:clr>
        </p15:guide>
        <p15:guide id="9" pos="2448">
          <p15:clr>
            <a:srgbClr val="547EBF"/>
          </p15:clr>
        </p15:guide>
        <p15:guide id="10" pos="3744">
          <p15:clr>
            <a:srgbClr val="FBAE40"/>
          </p15:clr>
        </p15:guide>
        <p15:guide id="11" pos="3936">
          <p15:clr>
            <a:srgbClr val="FBAE40"/>
          </p15:clr>
        </p15:guide>
        <p15:guide id="12" pos="6168">
          <p15:clr>
            <a:srgbClr val="547EBF"/>
          </p15:clr>
        </p15:guide>
        <p15:guide id="13" pos="6912">
          <p15:clr>
            <a:srgbClr val="547EBF"/>
          </p15:clr>
        </p15:guide>
        <p15:guide id="14" pos="5976">
          <p15:clr>
            <a:srgbClr val="547EBF"/>
          </p15:clr>
        </p15:guide>
        <p15:guide id="15" pos="6720">
          <p15:clr>
            <a:srgbClr val="547EBF"/>
          </p15:clr>
        </p15:guide>
        <p15:guide id="16" pos="3000">
          <p15:clr>
            <a:srgbClr val="547EBF"/>
          </p15:clr>
        </p15:guide>
        <p15:guide id="17" pos="3192">
          <p15:clr>
            <a:srgbClr val="547EBF"/>
          </p15:clr>
        </p15:guide>
        <p15:guide id="19" pos="216">
          <p15:clr>
            <a:srgbClr val="F26B43"/>
          </p15:clr>
        </p15:guide>
        <p15:guide id="21" pos="7464">
          <p15:clr>
            <a:srgbClr val="F26B43"/>
          </p15:clr>
        </p15:guide>
        <p15:guide id="22" orient="horz" pos="3744">
          <p15:clr>
            <a:srgbClr val="F26B43"/>
          </p15:clr>
        </p15:guide>
        <p15:guide id="23" pos="4488">
          <p15:clr>
            <a:srgbClr val="547EBF"/>
          </p15:clr>
        </p15:guide>
        <p15:guide id="24" pos="4680">
          <p15:clr>
            <a:srgbClr val="547EBF"/>
          </p15:clr>
        </p15:guide>
        <p15:guide id="25" pos="5424">
          <p15:clr>
            <a:srgbClr val="547EBF"/>
          </p15:clr>
        </p15:guide>
        <p15:guide id="26" pos="5232">
          <p15:clr>
            <a:srgbClr val="547EBF"/>
          </p15:clr>
        </p15:guide>
        <p15:guide id="27" pos="1704">
          <p15:clr>
            <a:srgbClr val="547EBF"/>
          </p15:clr>
        </p15:guide>
        <p15:guide id="28" pos="1512">
          <p15:clr>
            <a:srgbClr val="547EBF"/>
          </p15:clr>
        </p15:guide>
        <p15:guide id="29" pos="768">
          <p15:clr>
            <a:srgbClr val="547EBF"/>
          </p15:clr>
        </p15:guide>
        <p15:guide id="30" pos="960">
          <p15:clr>
            <a:srgbClr val="547EBF"/>
          </p15:clr>
        </p15:guide>
        <p15:guide id="31" pos="3840">
          <p15:clr>
            <a:srgbClr val="F26B43"/>
          </p15:clr>
        </p15:guide>
        <p15:guide id="32" orient="horz" pos="936">
          <p15:clr>
            <a:srgbClr val="F26B43"/>
          </p15:clr>
        </p15:guide>
        <p15:guide id="33" orient="horz" pos="14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0FA45F0-4501-7B95-625F-DF4A52B1D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9025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60" imgH="360" progId="TCLayout.ActiveDocument.1">
                  <p:embed/>
                </p:oleObj>
              </mc:Choice>
              <mc:Fallback>
                <p:oleObj name="think-cell Slide" r:id="rId64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FA45F0-4501-7B95-625F-DF4A52B1D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7"/>
            <a:ext cx="11436350" cy="41322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018927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SIPCMContentMarking" descr="{&quot;HashCode&quot;:196194820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284700BC-0900-068A-6F5D-7DC4C688C190}"/>
              </a:ext>
            </a:extLst>
          </p:cNvPr>
          <p:cNvSpPr txBox="1"/>
          <p:nvPr userDrawn="1"/>
        </p:nvSpPr>
        <p:spPr>
          <a:xfrm>
            <a:off x="0" y="0"/>
            <a:ext cx="1070332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8E6A00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013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  <p:sldLayoutId id="2147483862" r:id="rId30"/>
    <p:sldLayoutId id="2147483863" r:id="rId31"/>
    <p:sldLayoutId id="2147483864" r:id="rId32"/>
    <p:sldLayoutId id="2147483865" r:id="rId33"/>
    <p:sldLayoutId id="2147483866" r:id="rId34"/>
    <p:sldLayoutId id="2147483867" r:id="rId35"/>
    <p:sldLayoutId id="2147483868" r:id="rId36"/>
    <p:sldLayoutId id="2147483869" r:id="rId37"/>
    <p:sldLayoutId id="2147483870" r:id="rId38"/>
    <p:sldLayoutId id="2147483871" r:id="rId39"/>
    <p:sldLayoutId id="2147483872" r:id="rId40"/>
    <p:sldLayoutId id="2147483873" r:id="rId41"/>
    <p:sldLayoutId id="2147483874" r:id="rId42"/>
    <p:sldLayoutId id="2147483875" r:id="rId43"/>
    <p:sldLayoutId id="2147483876" r:id="rId44"/>
    <p:sldLayoutId id="2147483877" r:id="rId45"/>
    <p:sldLayoutId id="2147483878" r:id="rId46"/>
    <p:sldLayoutId id="2147483879" r:id="rId47"/>
    <p:sldLayoutId id="2147483880" r:id="rId48"/>
    <p:sldLayoutId id="2147483881" r:id="rId49"/>
    <p:sldLayoutId id="2147483882" r:id="rId50"/>
    <p:sldLayoutId id="2147483883" r:id="rId51"/>
    <p:sldLayoutId id="2147483884" r:id="rId52"/>
    <p:sldLayoutId id="2147483885" r:id="rId53"/>
    <p:sldLayoutId id="2147483886" r:id="rId54"/>
    <p:sldLayoutId id="2147483887" r:id="rId55"/>
    <p:sldLayoutId id="2147483888" r:id="rId56"/>
    <p:sldLayoutId id="2147483889" r:id="rId57"/>
    <p:sldLayoutId id="2147483890" r:id="rId58"/>
    <p:sldLayoutId id="2147483891" r:id="rId59"/>
    <p:sldLayoutId id="2147483892" r:id="rId60"/>
    <p:sldLayoutId id="2147483893" r:id="rId6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orient="horz" pos="2160">
          <p15:clr>
            <a:srgbClr val="F26B43"/>
          </p15:clr>
        </p15:guide>
        <p15:guide id="15" pos="3840">
          <p15:clr>
            <a:srgbClr val="F26B43"/>
          </p15:clr>
        </p15:guide>
        <p15:guide id="16" pos="238">
          <p15:clr>
            <a:srgbClr val="F26B43"/>
          </p15:clr>
        </p15:guide>
        <p15:guide id="17" pos="2511">
          <p15:clr>
            <a:srgbClr val="F26B43"/>
          </p15:clr>
        </p15:guide>
        <p15:guide id="18" pos="2704">
          <p15:clr>
            <a:srgbClr val="F26B43"/>
          </p15:clr>
        </p15:guide>
        <p15:guide id="19" pos="4977">
          <p15:clr>
            <a:srgbClr val="F26B43"/>
          </p15:clr>
        </p15:guide>
        <p15:guide id="20" pos="5169">
          <p15:clr>
            <a:srgbClr val="F26B43"/>
          </p15:clr>
        </p15:guide>
        <p15:guide id="21" pos="7442">
          <p15:clr>
            <a:srgbClr val="F26B43"/>
          </p15:clr>
        </p15:guide>
        <p15:guide id="22" orient="horz" pos="238">
          <p15:clr>
            <a:srgbClr val="F26B43"/>
          </p15:clr>
        </p15:guide>
        <p15:guide id="23" orient="horz" pos="3816">
          <p15:clr>
            <a:srgbClr val="F26B43"/>
          </p15:clr>
        </p15:guide>
        <p15:guide id="24" orient="horz" pos="1751">
          <p15:clr>
            <a:srgbClr val="F26B43"/>
          </p15:clr>
        </p15:guide>
        <p15:guide id="25" orient="horz" pos="1213">
          <p15:clr>
            <a:srgbClr val="F26B43"/>
          </p15:clr>
        </p15:guide>
        <p15:guide id="26" orient="horz" pos="7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321C421-2A73-3861-9A80-6021D79E8B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60452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21C421-2A73-3861-9A80-6021D79E8B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7"/>
            <a:ext cx="11436350" cy="41322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2E5ADA-30D9-44B6-9A0B-18ADF9919957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D182C02-543B-2178-6E4E-BDA2A8540B7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CO" sz="1200">
                <a:solidFill>
                  <a:srgbClr val="00B29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11774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2" r:id="rId3"/>
    <p:sldLayoutId id="2147483904" r:id="rId4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orient="horz" pos="2160">
          <p15:clr>
            <a:srgbClr val="F26B43"/>
          </p15:clr>
        </p15:guide>
        <p15:guide id="15" pos="3840">
          <p15:clr>
            <a:srgbClr val="F26B43"/>
          </p15:clr>
        </p15:guide>
        <p15:guide id="16" pos="238">
          <p15:clr>
            <a:srgbClr val="F26B43"/>
          </p15:clr>
        </p15:guide>
        <p15:guide id="17" pos="2511">
          <p15:clr>
            <a:srgbClr val="F26B43"/>
          </p15:clr>
        </p15:guide>
        <p15:guide id="18" pos="2704">
          <p15:clr>
            <a:srgbClr val="F26B43"/>
          </p15:clr>
        </p15:guide>
        <p15:guide id="19" pos="4977">
          <p15:clr>
            <a:srgbClr val="F26B43"/>
          </p15:clr>
        </p15:guide>
        <p15:guide id="20" pos="5169">
          <p15:clr>
            <a:srgbClr val="F26B43"/>
          </p15:clr>
        </p15:guide>
        <p15:guide id="21" pos="7442">
          <p15:clr>
            <a:srgbClr val="F26B43"/>
          </p15:clr>
        </p15:guide>
        <p15:guide id="22" orient="horz" pos="238">
          <p15:clr>
            <a:srgbClr val="F26B43"/>
          </p15:clr>
        </p15:guide>
        <p15:guide id="23" orient="horz" pos="3816">
          <p15:clr>
            <a:srgbClr val="F26B43"/>
          </p15:clr>
        </p15:guide>
        <p15:guide id="24" orient="horz" pos="1751">
          <p15:clr>
            <a:srgbClr val="F26B43"/>
          </p15:clr>
        </p15:guide>
        <p15:guide id="25" orient="horz" pos="1213">
          <p15:clr>
            <a:srgbClr val="F26B43"/>
          </p15:clr>
        </p15:guide>
        <p15:guide id="26" orient="horz" pos="7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321C421-2A73-3861-9A80-6021D79E8B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60452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21C421-2A73-3861-9A80-6021D79E8B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7"/>
            <a:ext cx="11436350" cy="41322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2E5ADA-30D9-44B6-9A0B-18ADF9919957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D182C02-543B-2178-6E4E-BDA2A8540B7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CO" sz="1200">
                <a:solidFill>
                  <a:srgbClr val="00B29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41770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4" r:id="rId6"/>
    <p:sldLayoutId id="2147483915" r:id="rId7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orient="horz" pos="2160">
          <p15:clr>
            <a:srgbClr val="F26B43"/>
          </p15:clr>
        </p15:guide>
        <p15:guide id="15" pos="3840">
          <p15:clr>
            <a:srgbClr val="F26B43"/>
          </p15:clr>
        </p15:guide>
        <p15:guide id="16" pos="238">
          <p15:clr>
            <a:srgbClr val="F26B43"/>
          </p15:clr>
        </p15:guide>
        <p15:guide id="17" pos="2511">
          <p15:clr>
            <a:srgbClr val="F26B43"/>
          </p15:clr>
        </p15:guide>
        <p15:guide id="18" pos="2704">
          <p15:clr>
            <a:srgbClr val="F26B43"/>
          </p15:clr>
        </p15:guide>
        <p15:guide id="19" pos="4977">
          <p15:clr>
            <a:srgbClr val="F26B43"/>
          </p15:clr>
        </p15:guide>
        <p15:guide id="20" pos="5169">
          <p15:clr>
            <a:srgbClr val="F26B43"/>
          </p15:clr>
        </p15:guide>
        <p15:guide id="21" pos="7442">
          <p15:clr>
            <a:srgbClr val="F26B43"/>
          </p15:clr>
        </p15:guide>
        <p15:guide id="22" orient="horz" pos="238">
          <p15:clr>
            <a:srgbClr val="F26B43"/>
          </p15:clr>
        </p15:guide>
        <p15:guide id="23" orient="horz" pos="3816">
          <p15:clr>
            <a:srgbClr val="F26B43"/>
          </p15:clr>
        </p15:guide>
        <p15:guide id="24" orient="horz" pos="1751">
          <p15:clr>
            <a:srgbClr val="F26B43"/>
          </p15:clr>
        </p15:guide>
        <p15:guide id="25" orient="horz" pos="1213">
          <p15:clr>
            <a:srgbClr val="F26B43"/>
          </p15:clr>
        </p15:guide>
        <p15:guide id="26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hyperlink" Target="https://alertacuatropatas.com/" TargetMode="Externa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.xml"/><Relationship Id="rId5" Type="http://schemas.openxmlformats.org/officeDocument/2006/relationships/image" Target="../media/image17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10.emf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99768-0CBE-5692-C364-051471209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51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99768-0CBE-5692-C364-051471209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A1F1DC-D928-4578-EA7A-70E2E52C9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312" y="750189"/>
            <a:ext cx="11143743" cy="819531"/>
          </a:xfrm>
          <a:solidFill>
            <a:srgbClr val="00877C"/>
          </a:solidFill>
        </p:spPr>
        <p:txBody>
          <a:bodyPr vert="horz"/>
          <a:lstStyle/>
          <a:p>
            <a:pPr algn="ctr"/>
            <a:r>
              <a:rPr lang="en-US" sz="5500" b="1" u="sng" dirty="0"/>
              <a:t>Guia para </a:t>
            </a:r>
            <a:r>
              <a:rPr lang="en-US" sz="5500" b="1" u="sng" dirty="0" err="1"/>
              <a:t>el</a:t>
            </a:r>
            <a:r>
              <a:rPr lang="en-US" sz="5500" b="1" u="sng" dirty="0"/>
              <a:t> </a:t>
            </a:r>
            <a:r>
              <a:rPr lang="en-US" sz="5500" b="1" u="sng" dirty="0" err="1"/>
              <a:t>uso</a:t>
            </a:r>
            <a:r>
              <a:rPr lang="en-US" sz="5500" b="1" u="sng" dirty="0"/>
              <a:t> de la </a:t>
            </a:r>
            <a:r>
              <a:rPr lang="en-US" sz="5500" b="1" u="sng" dirty="0" err="1"/>
              <a:t>Herramienta</a:t>
            </a:r>
            <a:endParaRPr lang="pt-BR" sz="5500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16BE36-976C-54F3-191A-791E67C16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003D7B-1652-D42D-5EA9-53F7740710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5487" y="2357434"/>
            <a:ext cx="4811872" cy="2582730"/>
          </a:xfrm>
          <a:prstGeom prst="rect">
            <a:avLst/>
          </a:prstGeom>
        </p:spPr>
      </p:pic>
      <p:pic>
        <p:nvPicPr>
          <p:cNvPr id="6" name="Picture 3" descr="A person holding a cat&#10;&#10;Description automatically generated with low confidence">
            <a:extLst>
              <a:ext uri="{FF2B5EF4-FFF2-40B4-BE49-F238E27FC236}">
                <a16:creationId xmlns:a16="http://schemas.microsoft.com/office/drawing/2014/main" id="{D286FB82-3062-A997-FDAB-A2885D4FA460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49" r="4" b="4"/>
          <a:stretch>
            <a:fillRect/>
          </a:stretch>
        </p:blipFill>
        <p:spPr>
          <a:xfrm>
            <a:off x="0" y="3423920"/>
            <a:ext cx="3556000" cy="3434080"/>
          </a:xfrm>
          <a:custGeom>
            <a:avLst/>
            <a:gdLst/>
            <a:ahLst/>
            <a:cxnLst/>
            <a:rect l="l" t="t" r="r" b="b"/>
            <a:pathLst>
              <a:path w="4290498" h="4290498">
                <a:moveTo>
                  <a:pt x="0" y="0"/>
                </a:moveTo>
                <a:lnTo>
                  <a:pt x="2142098" y="0"/>
                </a:lnTo>
                <a:cubicBezTo>
                  <a:pt x="3328639" y="0"/>
                  <a:pt x="4290498" y="961859"/>
                  <a:pt x="4290498" y="2148400"/>
                </a:cubicBezTo>
                <a:lnTo>
                  <a:pt x="4290498" y="4290498"/>
                </a:lnTo>
                <a:lnTo>
                  <a:pt x="2148400" y="4290498"/>
                </a:lnTo>
                <a:cubicBezTo>
                  <a:pt x="961859" y="4290498"/>
                  <a:pt x="0" y="3328639"/>
                  <a:pt x="0" y="2142098"/>
                </a:cubicBez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734BEC-212C-D1DA-FFD6-881B2FF3787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0878" t="23063" b="-1"/>
          <a:stretch>
            <a:fillRect/>
          </a:stretch>
        </p:blipFill>
        <p:spPr>
          <a:xfrm>
            <a:off x="10160105" y="6044650"/>
            <a:ext cx="1654070" cy="703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94707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64B24-B583-AE8E-2CEF-CD13FEC0E0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7F4A49E-F638-A3DA-7D41-D3EECF1D2F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4A49E-F638-A3DA-7D41-D3EECF1D2F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50FF54F8-4D9D-5D9E-09D8-90E3A3D5A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Informe de Envío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8C3BCB-45BB-2276-4849-752FD81A0ECF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/>
              <a:t>1. Dar Click </a:t>
            </a:r>
            <a:r>
              <a:rPr lang="en-US" sz="1200" dirty="0" err="1"/>
              <a:t>en</a:t>
            </a:r>
            <a:r>
              <a:rPr lang="en-US" sz="1200" dirty="0"/>
              <a:t> la </a:t>
            </a:r>
            <a:r>
              <a:rPr lang="en-US" sz="1200" dirty="0" err="1"/>
              <a:t>opción</a:t>
            </a:r>
            <a:r>
              <a:rPr lang="en-US" sz="1200" dirty="0"/>
              <a:t> “Informe de </a:t>
            </a:r>
            <a:r>
              <a:rPr lang="en-US" sz="1200" dirty="0" err="1"/>
              <a:t>Envío</a:t>
            </a:r>
            <a:r>
              <a:rPr lang="en-US" sz="1200" dirty="0"/>
              <a:t>”. En </a:t>
            </a:r>
            <a:r>
              <a:rPr lang="en-US" sz="1200" dirty="0" err="1"/>
              <a:t>esta</a:t>
            </a:r>
            <a:r>
              <a:rPr lang="en-US" sz="1200" dirty="0"/>
              <a:t> </a:t>
            </a:r>
            <a:r>
              <a:rPr lang="en-US" sz="1200" dirty="0" err="1"/>
              <a:t>opcion</a:t>
            </a:r>
            <a:r>
              <a:rPr lang="en-US" sz="1200" dirty="0"/>
              <a:t> </a:t>
            </a:r>
            <a:r>
              <a:rPr lang="en-US" sz="1200" dirty="0" err="1"/>
              <a:t>podrás</a:t>
            </a:r>
            <a:r>
              <a:rPr lang="en-US" sz="1200" dirty="0"/>
              <a:t> </a:t>
            </a:r>
            <a:r>
              <a:rPr lang="en-US" sz="1200" dirty="0" err="1"/>
              <a:t>revisar</a:t>
            </a:r>
            <a:r>
              <a:rPr lang="en-US" sz="1200" dirty="0"/>
              <a:t> </a:t>
            </a:r>
            <a:r>
              <a:rPr lang="en-US" sz="1200" dirty="0" err="1"/>
              <a:t>los</a:t>
            </a:r>
            <a:r>
              <a:rPr lang="en-US" sz="1200" dirty="0"/>
              <a:t> reports de </a:t>
            </a:r>
            <a:r>
              <a:rPr lang="en-US" sz="1200" dirty="0" err="1"/>
              <a:t>mensaje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filtros</a:t>
            </a:r>
            <a:r>
              <a:rPr lang="en-US" sz="1200" dirty="0"/>
              <a:t> </a:t>
            </a:r>
            <a:r>
              <a:rPr lang="en-US" sz="1200" dirty="0" err="1"/>
              <a:t>necesarios</a:t>
            </a:r>
            <a:endParaRPr lang="en-US" sz="1200" dirty="0"/>
          </a:p>
          <a:p>
            <a:r>
              <a:rPr lang="en-US" sz="1200" dirty="0"/>
              <a:t>2. Busque la </a:t>
            </a:r>
            <a:r>
              <a:rPr lang="en-US" sz="1200" dirty="0" err="1"/>
              <a:t>información</a:t>
            </a:r>
            <a:r>
              <a:rPr lang="en-US" sz="1200" dirty="0"/>
              <a:t> que </a:t>
            </a:r>
            <a:r>
              <a:rPr lang="en-US" sz="1200" dirty="0" err="1"/>
              <a:t>necesite</a:t>
            </a:r>
            <a:r>
              <a:rPr lang="en-US" sz="1200" dirty="0"/>
              <a:t> </a:t>
            </a:r>
            <a:r>
              <a:rPr lang="en-US" sz="1200" dirty="0" err="1"/>
              <a:t>filtrando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Cliente</a:t>
            </a:r>
            <a:r>
              <a:rPr lang="en-US" sz="1200" dirty="0"/>
              <a:t>, Producto / </a:t>
            </a:r>
            <a:r>
              <a:rPr lang="en-US" sz="1200" dirty="0" err="1"/>
              <a:t>servicio</a:t>
            </a:r>
            <a:r>
              <a:rPr lang="en-US" sz="1200" dirty="0"/>
              <a:t>, Estado (</a:t>
            </a:r>
            <a:r>
              <a:rPr lang="en-US" sz="1200" dirty="0" err="1"/>
              <a:t>Agendado</a:t>
            </a:r>
            <a:r>
              <a:rPr lang="en-US" sz="1200" dirty="0"/>
              <a:t>, </a:t>
            </a:r>
            <a:r>
              <a:rPr lang="en-US" sz="1200" dirty="0" err="1"/>
              <a:t>enviado</a:t>
            </a:r>
            <a:r>
              <a:rPr lang="en-US" sz="1200" dirty="0"/>
              <a:t>, </a:t>
            </a:r>
            <a:r>
              <a:rPr lang="en-US" sz="1200" dirty="0" err="1"/>
              <a:t>excluido</a:t>
            </a:r>
            <a:r>
              <a:rPr lang="en-US" sz="1200" dirty="0"/>
              <a:t>) y/o </a:t>
            </a:r>
            <a:r>
              <a:rPr lang="en-US" sz="1200" dirty="0" err="1"/>
              <a:t>rango</a:t>
            </a:r>
            <a:r>
              <a:rPr lang="en-US" sz="1200" dirty="0"/>
              <a:t> de </a:t>
            </a:r>
            <a:r>
              <a:rPr lang="en-US" sz="1200" dirty="0" err="1"/>
              <a:t>fecha</a:t>
            </a:r>
            <a:r>
              <a:rPr lang="en-US" sz="1200" dirty="0"/>
              <a:t> </a:t>
            </a:r>
          </a:p>
          <a:p>
            <a:r>
              <a:rPr lang="en-US" sz="1200" dirty="0"/>
              <a:t>3. Siga </a:t>
            </a:r>
            <a:r>
              <a:rPr lang="en-US" sz="1200" dirty="0" err="1"/>
              <a:t>los</a:t>
            </a:r>
            <a:r>
              <a:rPr lang="en-US" sz="1200" dirty="0"/>
              <a:t> pasos para la </a:t>
            </a:r>
            <a:r>
              <a:rPr lang="en-US" sz="1200" dirty="0" err="1"/>
              <a:t>autorización</a:t>
            </a:r>
            <a:r>
              <a:rPr lang="en-US" sz="1200" dirty="0"/>
              <a:t> </a:t>
            </a:r>
            <a:r>
              <a:rPr lang="en-US" sz="1200" dirty="0" err="1"/>
              <a:t>presencial</a:t>
            </a:r>
            <a:r>
              <a:rPr lang="en-US" sz="1200" dirty="0"/>
              <a:t> (</a:t>
            </a:r>
            <a:r>
              <a:rPr lang="en-US" sz="1200" dirty="0" err="1"/>
              <a:t>unicamente</a:t>
            </a:r>
            <a:r>
              <a:rPr lang="en-US" sz="1200" dirty="0"/>
              <a:t> </a:t>
            </a:r>
            <a:r>
              <a:rPr lang="en-US" sz="1200" dirty="0" err="1"/>
              <a:t>si</a:t>
            </a:r>
            <a:r>
              <a:rPr lang="en-US" sz="1200" dirty="0"/>
              <a:t> se </a:t>
            </a:r>
            <a:r>
              <a:rPr lang="en-US" sz="1200" dirty="0" err="1"/>
              <a:t>encuentra</a:t>
            </a:r>
            <a:r>
              <a:rPr lang="en-US" sz="1200" dirty="0"/>
              <a:t> de </a:t>
            </a:r>
            <a:r>
              <a:rPr lang="en-US" sz="1200" dirty="0" err="1"/>
              <a:t>manera</a:t>
            </a:r>
            <a:r>
              <a:rPr lang="en-US" sz="1200" dirty="0"/>
              <a:t> </a:t>
            </a:r>
            <a:r>
              <a:rPr lang="en-US" sz="1200" dirty="0" err="1"/>
              <a:t>presencial</a:t>
            </a:r>
            <a:r>
              <a:rPr lang="en-US" sz="1200" dirty="0"/>
              <a:t> con </a:t>
            </a:r>
            <a:r>
              <a:rPr lang="en-US" sz="1200" dirty="0" err="1"/>
              <a:t>el</a:t>
            </a:r>
            <a:r>
              <a:rPr lang="en-US" sz="1200" dirty="0"/>
              <a:t> tutor, </a:t>
            </a:r>
            <a:r>
              <a:rPr lang="en-US" sz="1200" dirty="0" err="1"/>
              <a:t>en</a:t>
            </a:r>
            <a:r>
              <a:rPr lang="en-US" sz="1200" dirty="0"/>
              <a:t> </a:t>
            </a:r>
            <a:r>
              <a:rPr lang="en-US" sz="1200" dirty="0" err="1"/>
              <a:t>caso</a:t>
            </a:r>
            <a:r>
              <a:rPr lang="en-US" sz="1200" dirty="0"/>
              <a:t> </a:t>
            </a:r>
            <a:r>
              <a:rPr lang="en-US" sz="1200" dirty="0" err="1"/>
              <a:t>contrario</a:t>
            </a:r>
            <a:r>
              <a:rPr lang="en-US" sz="1200" dirty="0"/>
              <a:t> </a:t>
            </a:r>
            <a:r>
              <a:rPr lang="en-US" sz="1200" dirty="0" err="1"/>
              <a:t>utilic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consentimiento</a:t>
            </a:r>
            <a:r>
              <a:rPr lang="en-US" sz="1200" dirty="0"/>
              <a:t> Digital)</a:t>
            </a:r>
          </a:p>
          <a:p>
            <a:r>
              <a:rPr lang="en-US" sz="1200" dirty="0"/>
              <a:t>4. Dar click </a:t>
            </a:r>
            <a:r>
              <a:rPr lang="en-US" sz="1200" dirty="0" err="1"/>
              <a:t>en</a:t>
            </a:r>
            <a:r>
              <a:rPr lang="en-US" sz="1200" dirty="0"/>
              <a:t> </a:t>
            </a:r>
            <a:r>
              <a:rPr lang="en-US" sz="1200" dirty="0" err="1"/>
              <a:t>buscar</a:t>
            </a:r>
            <a:endParaRPr lang="en-US" sz="12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2051" name="Imagem 2">
            <a:extLst>
              <a:ext uri="{FF2B5EF4-FFF2-40B4-BE49-F238E27FC236}">
                <a16:creationId xmlns:a16="http://schemas.microsoft.com/office/drawing/2014/main" id="{83BB62A8-EA92-DF41-7540-6F5237E8D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84" y="3064830"/>
            <a:ext cx="4243918" cy="247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m 3">
            <a:extLst>
              <a:ext uri="{FF2B5EF4-FFF2-40B4-BE49-F238E27FC236}">
                <a16:creationId xmlns:a16="http://schemas.microsoft.com/office/drawing/2014/main" id="{2D96AFC9-5057-65AB-F73E-3F5F7FF03E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67" t="11883"/>
          <a:stretch>
            <a:fillRect/>
          </a:stretch>
        </p:blipFill>
        <p:spPr bwMode="auto">
          <a:xfrm>
            <a:off x="4380402" y="3064830"/>
            <a:ext cx="3654437" cy="256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Imagem 4">
            <a:extLst>
              <a:ext uri="{FF2B5EF4-FFF2-40B4-BE49-F238E27FC236}">
                <a16:creationId xmlns:a16="http://schemas.microsoft.com/office/drawing/2014/main" id="{67E33123-000C-79F5-2565-CA1F8D886E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5" t="12734" r="1" b="11996"/>
          <a:stretch>
            <a:fillRect/>
          </a:stretch>
        </p:blipFill>
        <p:spPr bwMode="auto">
          <a:xfrm>
            <a:off x="8157427" y="3064830"/>
            <a:ext cx="4034573" cy="236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480D4DA-D844-4950-5347-BDF3B9F2EF91}"/>
              </a:ext>
            </a:extLst>
          </p:cNvPr>
          <p:cNvSpPr/>
          <p:nvPr/>
        </p:nvSpPr>
        <p:spPr>
          <a:xfrm>
            <a:off x="1279969" y="3429000"/>
            <a:ext cx="609600" cy="3165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431DACD-588C-988F-D1FF-0618C339840A}"/>
              </a:ext>
            </a:extLst>
          </p:cNvPr>
          <p:cNvSpPr/>
          <p:nvPr/>
        </p:nvSpPr>
        <p:spPr>
          <a:xfrm>
            <a:off x="5582339" y="3155383"/>
            <a:ext cx="609600" cy="3165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55FD5A3-039A-74CC-7145-308EE49EEE92}"/>
              </a:ext>
            </a:extLst>
          </p:cNvPr>
          <p:cNvSpPr/>
          <p:nvPr/>
        </p:nvSpPr>
        <p:spPr>
          <a:xfrm>
            <a:off x="10625789" y="3149522"/>
            <a:ext cx="609600" cy="3165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37704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C0853-1F85-831E-2EB1-7B043B015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2012777-1B43-4730-2FDA-E2E0B15AB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012777-1B43-4730-2FDA-E2E0B15AB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3944A2EC-F284-D7B0-6FD3-64157C465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Información de la cuenta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A7F58C-2995-4AB9-4A4A-B4D26C7A2130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1. En </a:t>
            </a:r>
            <a:r>
              <a:rPr lang="en-US" sz="1400" dirty="0" err="1"/>
              <a:t>esta</a:t>
            </a:r>
            <a:r>
              <a:rPr lang="en-US" sz="1400" dirty="0"/>
              <a:t> </a:t>
            </a:r>
            <a:r>
              <a:rPr lang="en-US" sz="1400" dirty="0" err="1"/>
              <a:t>opción</a:t>
            </a:r>
            <a:r>
              <a:rPr lang="en-US" sz="1400" dirty="0"/>
              <a:t> </a:t>
            </a:r>
            <a:r>
              <a:rPr lang="en-US" sz="1400" dirty="0" err="1"/>
              <a:t>podrás</a:t>
            </a:r>
            <a:r>
              <a:rPr lang="en-US" sz="1400" dirty="0"/>
              <a:t> </a:t>
            </a:r>
            <a:r>
              <a:rPr lang="en-US" sz="1400" dirty="0" err="1"/>
              <a:t>editar</a:t>
            </a:r>
            <a:r>
              <a:rPr lang="en-US" sz="1400" dirty="0"/>
              <a:t> </a:t>
            </a:r>
            <a:r>
              <a:rPr lang="en-US" sz="1400" dirty="0" err="1"/>
              <a:t>tu</a:t>
            </a:r>
            <a:r>
              <a:rPr lang="en-US" sz="1400" dirty="0"/>
              <a:t> </a:t>
            </a:r>
            <a:r>
              <a:rPr lang="en-US" sz="1400" dirty="0" err="1"/>
              <a:t>información</a:t>
            </a:r>
            <a:r>
              <a:rPr lang="en-US" sz="1400" dirty="0"/>
              <a:t> de </a:t>
            </a:r>
            <a:r>
              <a:rPr lang="en-US" sz="1400" dirty="0" err="1"/>
              <a:t>cuenta</a:t>
            </a:r>
            <a:r>
              <a:rPr lang="en-US" sz="1400" dirty="0"/>
              <a:t> (</a:t>
            </a:r>
            <a:r>
              <a:rPr lang="en-US" sz="1400" dirty="0" err="1"/>
              <a:t>veterinaria</a:t>
            </a:r>
            <a:r>
              <a:rPr lang="en-US" sz="1400" dirty="0"/>
              <a:t> o pet shop)</a:t>
            </a:r>
          </a:p>
          <a:p>
            <a:r>
              <a:rPr lang="en-US" sz="1400" dirty="0"/>
              <a:t>2. </a:t>
            </a:r>
            <a:r>
              <a:rPr lang="en-US" sz="1400" dirty="0" err="1"/>
              <a:t>Recuerda</a:t>
            </a:r>
            <a:r>
              <a:rPr lang="en-US" sz="1400" dirty="0"/>
              <a:t> </a:t>
            </a:r>
            <a:r>
              <a:rPr lang="en-US" sz="1400" dirty="0" err="1"/>
              <a:t>siempre</a:t>
            </a:r>
            <a:r>
              <a:rPr lang="en-US" sz="1400" dirty="0"/>
              <a:t> al completer la </a:t>
            </a:r>
            <a:r>
              <a:rPr lang="en-US" sz="1400" dirty="0" err="1"/>
              <a:t>información</a:t>
            </a:r>
            <a:r>
              <a:rPr lang="en-US" sz="1400" dirty="0"/>
              <a:t> </a:t>
            </a:r>
            <a:r>
              <a:rPr lang="en-US" sz="1400" dirty="0" err="1"/>
              <a:t>dar</a:t>
            </a:r>
            <a:r>
              <a:rPr lang="en-US" sz="1400" dirty="0"/>
              <a:t> click </a:t>
            </a:r>
            <a:r>
              <a:rPr lang="en-US" sz="1400" dirty="0" err="1"/>
              <a:t>en</a:t>
            </a:r>
            <a:r>
              <a:rPr lang="en-US" sz="1400" dirty="0"/>
              <a:t> “</a:t>
            </a:r>
            <a:r>
              <a:rPr lang="en-US" sz="1400" dirty="0" err="1"/>
              <a:t>Guardar</a:t>
            </a:r>
            <a:r>
              <a:rPr lang="en-US" sz="1400" dirty="0"/>
              <a:t>”  para </a:t>
            </a:r>
            <a:r>
              <a:rPr lang="en-US" sz="1400" dirty="0" err="1"/>
              <a:t>asegurar</a:t>
            </a:r>
            <a:r>
              <a:rPr lang="en-US" sz="1400" dirty="0"/>
              <a:t> </a:t>
            </a:r>
            <a:r>
              <a:rPr lang="en-US" sz="1400" dirty="0" err="1"/>
              <a:t>los</a:t>
            </a:r>
            <a:r>
              <a:rPr lang="en-US" sz="1400" dirty="0"/>
              <a:t> </a:t>
            </a:r>
            <a:r>
              <a:rPr lang="en-US" sz="1400" dirty="0" err="1"/>
              <a:t>cambios</a:t>
            </a:r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5F1702-A11E-4AC7-3499-F0763D2B7B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825" y="3054096"/>
            <a:ext cx="5224757" cy="27688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900F0-8ABE-D843-96F0-EE43BCAEC8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3118104"/>
            <a:ext cx="5074334" cy="270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15816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99768-0CBE-5692-C364-051471209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95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99768-0CBE-5692-C364-051471209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A1F1DC-D928-4578-EA7A-70E2E52C9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1228725"/>
            <a:ext cx="11206919" cy="2151675"/>
          </a:xfrm>
        </p:spPr>
        <p:txBody>
          <a:bodyPr vert="horz"/>
          <a:lstStyle/>
          <a:p>
            <a:pPr algn="ctr"/>
            <a:r>
              <a:rPr lang="pt-BR" dirty="0"/>
              <a:t>Grac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16BE36-976C-54F3-191A-791E67C16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5F99E6-7938-0BDE-1C47-D7E4DEA08EF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878" t="23063" b="-1"/>
          <a:stretch>
            <a:fillRect/>
          </a:stretch>
        </p:blipFill>
        <p:spPr>
          <a:xfrm>
            <a:off x="10259643" y="6035040"/>
            <a:ext cx="1554532" cy="6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0340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E4F5359-47BD-B3D1-1F90-5A81A8692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28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4F5359-47BD-B3D1-1F90-5A81A8692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16C0E88A-F15C-2A35-8529-353C81FB0037}"/>
              </a:ext>
            </a:extLst>
          </p:cNvPr>
          <p:cNvSpPr txBox="1">
            <a:spLocks noChangeArrowheads="1"/>
          </p:cNvSpPr>
          <p:nvPr/>
        </p:nvSpPr>
        <p:spPr>
          <a:xfrm>
            <a:off x="614254" y="1503662"/>
            <a:ext cx="10963491" cy="4290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altLang="en-US" dirty="0">
              <a:ea typeface="+mn-ea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AAADAA49-ECC8-1C3B-7FDB-FECDA8387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Ingreso a la página Web</a:t>
            </a:r>
            <a:endParaRPr lang="es-CO" sz="2400" b="1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C96701-B757-0CEC-D0F7-A418B980D5CF}"/>
              </a:ext>
            </a:extLst>
          </p:cNvPr>
          <p:cNvSpPr txBox="1"/>
          <p:nvPr/>
        </p:nvSpPr>
        <p:spPr>
          <a:xfrm>
            <a:off x="747932" y="1346988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>
              <a:buAutoNum type="arabicPeriod"/>
            </a:pPr>
            <a:r>
              <a:rPr lang="en-US" sz="1400" dirty="0" err="1"/>
              <a:t>Ingresa</a:t>
            </a:r>
            <a:r>
              <a:rPr lang="en-US" sz="1400" dirty="0"/>
              <a:t> a la Página </a:t>
            </a:r>
            <a:r>
              <a:rPr lang="en-US" sz="1400" dirty="0">
                <a:hlinkClick r:id="rId5"/>
              </a:rPr>
              <a:t>https://alertacuatropatas.com/</a:t>
            </a:r>
            <a:endParaRPr lang="en-US" sz="1400" dirty="0"/>
          </a:p>
          <a:p>
            <a:pPr marL="228600" indent="-228600">
              <a:buAutoNum type="arabicPeriod"/>
            </a:pPr>
            <a:r>
              <a:rPr lang="en-US" sz="1400" dirty="0" err="1"/>
              <a:t>Selecciona</a:t>
            </a:r>
            <a:r>
              <a:rPr lang="en-US" sz="1400" dirty="0"/>
              <a:t> </a:t>
            </a:r>
            <a:r>
              <a:rPr lang="en-US" sz="1400" dirty="0" err="1"/>
              <a:t>el</a:t>
            </a:r>
            <a:r>
              <a:rPr lang="en-US" sz="1400" dirty="0"/>
              <a:t> País de </a:t>
            </a:r>
            <a:r>
              <a:rPr lang="en-US" sz="1400" dirty="0" err="1"/>
              <a:t>ubicación</a:t>
            </a:r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E803F3-7C00-9475-A92D-4151EA861F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1091" y="2221277"/>
            <a:ext cx="7097070" cy="3941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4432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BEF61-9E2C-183D-3052-74D18D77F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148BBF3-271D-2FC8-F56D-DE104806E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8BBF3-271D-2FC8-F56D-DE104806E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4E3EEC-4574-BBB0-C551-EEA8F032F42F}"/>
              </a:ext>
            </a:extLst>
          </p:cNvPr>
          <p:cNvSpPr txBox="1">
            <a:spLocks noChangeArrowheads="1"/>
          </p:cNvSpPr>
          <p:nvPr/>
        </p:nvSpPr>
        <p:spPr>
          <a:xfrm>
            <a:off x="614254" y="1503662"/>
            <a:ext cx="10963491" cy="4290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altLang="en-US" dirty="0">
              <a:ea typeface="+mn-ea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FD74DCF6-EE00-27F5-55A8-58CF2809E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reación de cuenta</a:t>
            </a:r>
            <a:endParaRPr lang="es-CO" sz="2400" b="1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D4693D-E2DF-DDEE-B30D-F4D8D04C9339}"/>
              </a:ext>
            </a:extLst>
          </p:cNvPr>
          <p:cNvSpPr txBox="1"/>
          <p:nvPr/>
        </p:nvSpPr>
        <p:spPr>
          <a:xfrm>
            <a:off x="701040" y="1320355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1. Dar click </a:t>
            </a:r>
            <a:r>
              <a:rPr lang="en-US" sz="1400" dirty="0" err="1"/>
              <a:t>en</a:t>
            </a:r>
            <a:r>
              <a:rPr lang="en-US" sz="1400" dirty="0"/>
              <a:t> la </a:t>
            </a:r>
            <a:r>
              <a:rPr lang="en-US" sz="1400" dirty="0" err="1"/>
              <a:t>opción</a:t>
            </a:r>
            <a:r>
              <a:rPr lang="en-US" sz="1400" dirty="0"/>
              <a:t> “Crear </a:t>
            </a:r>
            <a:r>
              <a:rPr lang="en-US" sz="1400" dirty="0" err="1"/>
              <a:t>una</a:t>
            </a:r>
            <a:r>
              <a:rPr lang="en-US" sz="1400" dirty="0"/>
              <a:t> </a:t>
            </a:r>
            <a:r>
              <a:rPr lang="en-US" sz="1400" dirty="0" err="1"/>
              <a:t>cuenta</a:t>
            </a:r>
            <a:r>
              <a:rPr lang="en-US" sz="1400" dirty="0"/>
              <a:t>”</a:t>
            </a:r>
          </a:p>
          <a:p>
            <a:r>
              <a:rPr lang="en-US" sz="1400" dirty="0"/>
              <a:t>2. </a:t>
            </a:r>
            <a:r>
              <a:rPr lang="en-US" sz="1400" dirty="0" err="1"/>
              <a:t>Selecciona</a:t>
            </a:r>
            <a:r>
              <a:rPr lang="en-US" sz="1400" dirty="0"/>
              <a:t> </a:t>
            </a:r>
            <a:r>
              <a:rPr lang="en-US" sz="1400" dirty="0" err="1"/>
              <a:t>el</a:t>
            </a:r>
            <a:r>
              <a:rPr lang="en-US" sz="1400" dirty="0"/>
              <a:t> check box de “</a:t>
            </a:r>
            <a:r>
              <a:rPr lang="en-US" sz="1400" dirty="0" err="1"/>
              <a:t>Trabajo</a:t>
            </a:r>
            <a:r>
              <a:rPr lang="en-US" sz="1400" dirty="0"/>
              <a:t> con </a:t>
            </a:r>
            <a:r>
              <a:rPr lang="en-US" sz="1400" dirty="0" err="1"/>
              <a:t>servicios</a:t>
            </a:r>
            <a:r>
              <a:rPr lang="en-US" sz="1400" dirty="0"/>
              <a:t> </a:t>
            </a:r>
            <a:r>
              <a:rPr lang="en-US" sz="1400" dirty="0" err="1"/>
              <a:t>veterinarios</a:t>
            </a:r>
            <a:r>
              <a:rPr lang="en-US" sz="1400" dirty="0"/>
              <a:t>” </a:t>
            </a:r>
            <a:r>
              <a:rPr lang="en-US" sz="1400" dirty="0" err="1"/>
              <a:t>solamente</a:t>
            </a:r>
            <a:r>
              <a:rPr lang="en-US" sz="1400" dirty="0"/>
              <a:t> </a:t>
            </a:r>
            <a:r>
              <a:rPr lang="en-US" sz="1400" dirty="0" err="1"/>
              <a:t>si</a:t>
            </a:r>
            <a:r>
              <a:rPr lang="en-US" sz="1400" dirty="0"/>
              <a:t> </a:t>
            </a:r>
            <a:r>
              <a:rPr lang="en-US" sz="1400" dirty="0" err="1"/>
              <a:t>eres</a:t>
            </a:r>
            <a:r>
              <a:rPr lang="en-US" sz="1400" dirty="0"/>
              <a:t> </a:t>
            </a:r>
            <a:r>
              <a:rPr lang="en-US" sz="1400" dirty="0" err="1"/>
              <a:t>clinica</a:t>
            </a:r>
            <a:r>
              <a:rPr lang="en-US" sz="1400" dirty="0"/>
              <a:t> </a:t>
            </a:r>
            <a:r>
              <a:rPr lang="en-US" sz="1400" dirty="0" err="1"/>
              <a:t>veterinaria</a:t>
            </a:r>
            <a:r>
              <a:rPr lang="en-US" sz="1400" dirty="0"/>
              <a:t> u </a:t>
            </a:r>
            <a:r>
              <a:rPr lang="en-US" sz="1400" dirty="0" err="1"/>
              <a:t>ofreces</a:t>
            </a:r>
            <a:r>
              <a:rPr lang="en-US" sz="1400" dirty="0"/>
              <a:t> </a:t>
            </a:r>
            <a:r>
              <a:rPr lang="en-US" sz="1400" dirty="0" err="1"/>
              <a:t>servicios</a:t>
            </a:r>
            <a:r>
              <a:rPr lang="en-US" sz="1400" dirty="0"/>
              <a:t> medicos </a:t>
            </a:r>
            <a:r>
              <a:rPr lang="en-US" sz="1400" dirty="0" err="1"/>
              <a:t>veterinarios</a:t>
            </a:r>
            <a:r>
              <a:rPr lang="en-US" sz="1400" dirty="0"/>
              <a:t>. En </a:t>
            </a:r>
            <a:r>
              <a:rPr lang="en-US" sz="1400" dirty="0" err="1"/>
              <a:t>caso</a:t>
            </a:r>
            <a:r>
              <a:rPr lang="en-US" sz="1400" dirty="0"/>
              <a:t> de que no </a:t>
            </a:r>
            <a:r>
              <a:rPr lang="en-US" sz="1400" dirty="0" err="1"/>
              <a:t>cuente</a:t>
            </a:r>
            <a:r>
              <a:rPr lang="en-US" sz="1400" dirty="0"/>
              <a:t> con </a:t>
            </a:r>
            <a:r>
              <a:rPr lang="en-US" sz="1400" dirty="0" err="1"/>
              <a:t>servicio</a:t>
            </a:r>
            <a:r>
              <a:rPr lang="en-US" sz="1400" dirty="0"/>
              <a:t> </a:t>
            </a:r>
            <a:r>
              <a:rPr lang="en-US" sz="1400" dirty="0" err="1"/>
              <a:t>veterinario</a:t>
            </a:r>
            <a:r>
              <a:rPr lang="en-US" sz="1400" dirty="0"/>
              <a:t>, </a:t>
            </a:r>
            <a:r>
              <a:rPr lang="en-US" sz="1400" dirty="0" err="1"/>
              <a:t>deje</a:t>
            </a:r>
            <a:r>
              <a:rPr lang="en-US" sz="1400" dirty="0"/>
              <a:t> </a:t>
            </a:r>
            <a:r>
              <a:rPr lang="en-US" sz="1400" dirty="0" err="1"/>
              <a:t>este</a:t>
            </a:r>
            <a:r>
              <a:rPr lang="en-US" sz="1400" dirty="0"/>
              <a:t> campo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blanco</a:t>
            </a:r>
            <a:r>
              <a:rPr lang="en-US" sz="1400" dirty="0"/>
              <a:t>.</a:t>
            </a:r>
          </a:p>
          <a:p>
            <a:r>
              <a:rPr lang="en-US" sz="1400" dirty="0"/>
              <a:t>3. Complete </a:t>
            </a:r>
            <a:r>
              <a:rPr lang="en-US" sz="1400" dirty="0" err="1"/>
              <a:t>los</a:t>
            </a:r>
            <a:r>
              <a:rPr lang="en-US" sz="1400" dirty="0"/>
              <a:t> campos con la </a:t>
            </a:r>
            <a:r>
              <a:rPr lang="en-US" sz="1400" dirty="0" err="1"/>
              <a:t>información</a:t>
            </a:r>
            <a:r>
              <a:rPr lang="en-US" sz="1400" dirty="0"/>
              <a:t> de la </a:t>
            </a:r>
            <a:r>
              <a:rPr lang="en-US" sz="1400" dirty="0" err="1"/>
              <a:t>empresa</a:t>
            </a:r>
            <a:r>
              <a:rPr lang="en-US" sz="1400" dirty="0"/>
              <a:t> (Clinica </a:t>
            </a:r>
            <a:r>
              <a:rPr lang="en-US" sz="1400" dirty="0" err="1"/>
              <a:t>veterinaria</a:t>
            </a:r>
            <a:r>
              <a:rPr lang="en-US" sz="1400" dirty="0"/>
              <a:t> o Pet shop)</a:t>
            </a:r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34586C-B273-4B88-A80D-D6C233F894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6019" t="24598" b="18507"/>
          <a:stretch>
            <a:fillRect/>
          </a:stretch>
        </p:blipFill>
        <p:spPr>
          <a:xfrm>
            <a:off x="3627120" y="2500961"/>
            <a:ext cx="4006750" cy="5779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2043B1-536A-3E9F-E623-DF474D1B72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7120" y="5768785"/>
            <a:ext cx="4409440" cy="102240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32E2E44-DDFC-0072-42DE-6B5EA63FDD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27120" y="2990026"/>
            <a:ext cx="4506806" cy="2665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0840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19168-1A9D-4628-0EA3-D8E8AA7E7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9F66BB0D-0E56-8482-6BA5-AD8E2AC84E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66BB0D-0E56-8482-6BA5-AD8E2AC84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189A9037-EFEC-16BC-3B52-D956E18D4A36}"/>
              </a:ext>
            </a:extLst>
          </p:cNvPr>
          <p:cNvSpPr txBox="1">
            <a:spLocks noChangeArrowheads="1"/>
          </p:cNvSpPr>
          <p:nvPr/>
        </p:nvSpPr>
        <p:spPr>
          <a:xfrm>
            <a:off x="614254" y="1503662"/>
            <a:ext cx="10963491" cy="4290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altLang="en-US" dirty="0">
              <a:ea typeface="+mn-ea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6812890-4123-8FBF-2F1B-FE0EF2EB0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reación de cuenta</a:t>
            </a:r>
            <a:endParaRPr lang="es-CO" sz="2400" b="1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E3377A-114E-497A-D792-05B164DC1EA3}"/>
              </a:ext>
            </a:extLst>
          </p:cNvPr>
          <p:cNvSpPr txBox="1"/>
          <p:nvPr/>
        </p:nvSpPr>
        <p:spPr>
          <a:xfrm>
            <a:off x="744432" y="1339539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4. Complete </a:t>
            </a:r>
            <a:r>
              <a:rPr lang="en-US" sz="1400" dirty="0" err="1"/>
              <a:t>los</a:t>
            </a:r>
            <a:r>
              <a:rPr lang="en-US" sz="1400" dirty="0"/>
              <a:t> campos con la </a:t>
            </a:r>
            <a:r>
              <a:rPr lang="en-US" sz="1400" dirty="0" err="1"/>
              <a:t>información</a:t>
            </a:r>
            <a:r>
              <a:rPr lang="en-US" sz="1400" dirty="0"/>
              <a:t> de la persona </a:t>
            </a:r>
            <a:r>
              <a:rPr lang="en-US" sz="1400" dirty="0" err="1"/>
              <a:t>encargada</a:t>
            </a:r>
            <a:r>
              <a:rPr lang="en-US" sz="1400" dirty="0"/>
              <a:t> de </a:t>
            </a:r>
            <a:r>
              <a:rPr lang="en-US" sz="1400" dirty="0" err="1"/>
              <a:t>gestionar</a:t>
            </a:r>
            <a:r>
              <a:rPr lang="en-US" sz="1400" dirty="0"/>
              <a:t> la </a:t>
            </a:r>
            <a:r>
              <a:rPr lang="en-US" sz="1400" dirty="0" err="1"/>
              <a:t>herramienta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la </a:t>
            </a:r>
            <a:r>
              <a:rPr lang="en-US" sz="1400" dirty="0" err="1"/>
              <a:t>empresa</a:t>
            </a:r>
            <a:endParaRPr lang="en-US" sz="1400" dirty="0"/>
          </a:p>
          <a:p>
            <a:r>
              <a:rPr lang="en-US" sz="1400" dirty="0"/>
              <a:t>5. </a:t>
            </a:r>
            <a:r>
              <a:rPr lang="en-US" sz="1400" dirty="0" err="1"/>
              <a:t>Ingrese</a:t>
            </a:r>
            <a:r>
              <a:rPr lang="en-US" sz="1400" dirty="0"/>
              <a:t> </a:t>
            </a:r>
            <a:r>
              <a:rPr lang="en-US" sz="1400" dirty="0" err="1"/>
              <a:t>el</a:t>
            </a:r>
            <a:r>
              <a:rPr lang="en-US" sz="1400" dirty="0"/>
              <a:t> Email (</a:t>
            </a:r>
            <a:r>
              <a:rPr lang="en-US" sz="1400" dirty="0" err="1"/>
              <a:t>esta</a:t>
            </a:r>
            <a:r>
              <a:rPr lang="en-US" sz="1400" dirty="0"/>
              <a:t> </a:t>
            </a:r>
            <a:r>
              <a:rPr lang="en-US" sz="1400" dirty="0" err="1"/>
              <a:t>información</a:t>
            </a:r>
            <a:r>
              <a:rPr lang="en-US" sz="1400" dirty="0"/>
              <a:t> </a:t>
            </a:r>
            <a:r>
              <a:rPr lang="en-US" sz="1400" dirty="0" err="1"/>
              <a:t>será</a:t>
            </a:r>
            <a:r>
              <a:rPr lang="en-US" sz="1400" dirty="0"/>
              <a:t> </a:t>
            </a:r>
            <a:r>
              <a:rPr lang="en-US" sz="1400" dirty="0" err="1"/>
              <a:t>requerida</a:t>
            </a:r>
            <a:r>
              <a:rPr lang="en-US" sz="1400" dirty="0"/>
              <a:t> al </a:t>
            </a:r>
            <a:r>
              <a:rPr lang="en-US" sz="1400" dirty="0" err="1"/>
              <a:t>iniciar</a:t>
            </a:r>
            <a:r>
              <a:rPr lang="en-US" sz="1400" dirty="0"/>
              <a:t> session)</a:t>
            </a:r>
          </a:p>
          <a:p>
            <a:r>
              <a:rPr lang="en-US" sz="1400" dirty="0"/>
              <a:t>6. Cree </a:t>
            </a:r>
            <a:r>
              <a:rPr lang="en-US" sz="1400" dirty="0" err="1"/>
              <a:t>una</a:t>
            </a:r>
            <a:r>
              <a:rPr lang="en-US" sz="1400" dirty="0"/>
              <a:t> </a:t>
            </a:r>
            <a:r>
              <a:rPr lang="en-US" sz="1400" dirty="0" err="1"/>
              <a:t>contraseña</a:t>
            </a:r>
            <a:r>
              <a:rPr lang="en-US" sz="1400" dirty="0"/>
              <a:t> con las </a:t>
            </a:r>
            <a:r>
              <a:rPr lang="en-US" sz="1400" dirty="0" err="1"/>
              <a:t>especificaciones</a:t>
            </a:r>
            <a:r>
              <a:rPr lang="en-US" sz="1400" dirty="0"/>
              <a:t> que se indican</a:t>
            </a:r>
          </a:p>
          <a:p>
            <a:r>
              <a:rPr lang="en-US" sz="1400" dirty="0"/>
              <a:t>7. </a:t>
            </a:r>
            <a:r>
              <a:rPr lang="en-US" sz="1400" dirty="0" err="1"/>
              <a:t>Acepte</a:t>
            </a:r>
            <a:r>
              <a:rPr lang="en-US" sz="1400" dirty="0"/>
              <a:t> </a:t>
            </a:r>
            <a:r>
              <a:rPr lang="en-US" sz="1400" dirty="0" err="1"/>
              <a:t>términos</a:t>
            </a:r>
            <a:r>
              <a:rPr lang="en-US" sz="1400" dirty="0"/>
              <a:t> y </a:t>
            </a:r>
            <a:r>
              <a:rPr lang="en-US" sz="1400" dirty="0" err="1"/>
              <a:t>condiciones</a:t>
            </a:r>
            <a:r>
              <a:rPr lang="en-US" sz="1400" dirty="0"/>
              <a:t> de </a:t>
            </a:r>
            <a:r>
              <a:rPr lang="en-US" sz="1400" dirty="0" err="1"/>
              <a:t>uso</a:t>
            </a:r>
            <a:r>
              <a:rPr lang="en-US" sz="1400" dirty="0"/>
              <a:t> del website</a:t>
            </a:r>
          </a:p>
          <a:p>
            <a:r>
              <a:rPr lang="en-US" sz="1400" dirty="0"/>
              <a:t>8. Dar click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crear</a:t>
            </a:r>
            <a:r>
              <a:rPr lang="en-US" sz="1400" dirty="0"/>
              <a:t> </a:t>
            </a:r>
            <a:r>
              <a:rPr lang="en-US" sz="1400" dirty="0" err="1"/>
              <a:t>cuenta</a:t>
            </a:r>
            <a:endParaRPr lang="en-US" sz="14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3CB27D-1D56-C378-0CAE-A584AE700E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254" y="2833750"/>
            <a:ext cx="5792732" cy="34857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5C14C34-09ED-3A28-9983-89985D769F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6528" y="3429000"/>
            <a:ext cx="5051574" cy="245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62439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4949B2-18AE-3896-C285-128E9BCD00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DD8877A-3B1D-7551-2897-62BC232E7D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8877A-3B1D-7551-2897-62BC232E7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989C018E-178A-14F1-4385-954B1E77E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Inicio de sesión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795625-5E3B-5704-E390-89CDBF644C45}"/>
              </a:ext>
            </a:extLst>
          </p:cNvPr>
          <p:cNvSpPr txBox="1"/>
          <p:nvPr/>
        </p:nvSpPr>
        <p:spPr>
          <a:xfrm>
            <a:off x="61425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1. Una </a:t>
            </a:r>
            <a:r>
              <a:rPr lang="en-US" sz="1400" dirty="0" err="1"/>
              <a:t>vez</a:t>
            </a:r>
            <a:r>
              <a:rPr lang="en-US" sz="1400" dirty="0"/>
              <a:t> </a:t>
            </a:r>
            <a:r>
              <a:rPr lang="en-US" sz="1400" dirty="0" err="1"/>
              <a:t>tengas</a:t>
            </a:r>
            <a:r>
              <a:rPr lang="en-US" sz="1400" dirty="0"/>
              <a:t> </a:t>
            </a:r>
            <a:r>
              <a:rPr lang="en-US" sz="1400" dirty="0" err="1"/>
              <a:t>creada</a:t>
            </a:r>
            <a:r>
              <a:rPr lang="en-US" sz="1400" dirty="0"/>
              <a:t> </a:t>
            </a:r>
            <a:r>
              <a:rPr lang="en-US" sz="1400" dirty="0" err="1"/>
              <a:t>tu</a:t>
            </a:r>
            <a:r>
              <a:rPr lang="en-US" sz="1400" dirty="0"/>
              <a:t> </a:t>
            </a:r>
            <a:r>
              <a:rPr lang="en-US" sz="1400" dirty="0" err="1"/>
              <a:t>cuenta</a:t>
            </a:r>
            <a:r>
              <a:rPr lang="en-US" sz="1400" dirty="0"/>
              <a:t>, las </a:t>
            </a:r>
            <a:r>
              <a:rPr lang="en-US" sz="1400" dirty="0" err="1"/>
              <a:t>próximas</a:t>
            </a:r>
            <a:r>
              <a:rPr lang="en-US" sz="1400" dirty="0"/>
              <a:t> </a:t>
            </a:r>
            <a:r>
              <a:rPr lang="en-US" sz="1400" dirty="0" err="1"/>
              <a:t>veces</a:t>
            </a:r>
            <a:r>
              <a:rPr lang="en-US" sz="1400" dirty="0"/>
              <a:t> </a:t>
            </a:r>
            <a:r>
              <a:rPr lang="en-US" sz="1400" dirty="0" err="1"/>
              <a:t>ingre</a:t>
            </a:r>
            <a:r>
              <a:rPr lang="en-US" sz="1400" dirty="0"/>
              <a:t> </a:t>
            </a:r>
            <a:r>
              <a:rPr lang="en-US" sz="1400" dirty="0" err="1"/>
              <a:t>por</a:t>
            </a:r>
            <a:r>
              <a:rPr lang="en-US" sz="1400" dirty="0"/>
              <a:t> la </a:t>
            </a:r>
            <a:r>
              <a:rPr lang="en-US" sz="1400" dirty="0" err="1"/>
              <a:t>opción</a:t>
            </a:r>
            <a:r>
              <a:rPr lang="en-US" sz="1400" dirty="0"/>
              <a:t> “</a:t>
            </a:r>
            <a:r>
              <a:rPr lang="en-US" sz="1400" dirty="0" err="1"/>
              <a:t>Iniciar</a:t>
            </a:r>
            <a:r>
              <a:rPr lang="en-US" sz="1400" dirty="0"/>
              <a:t> </a:t>
            </a:r>
            <a:r>
              <a:rPr lang="en-US" sz="1400" dirty="0" err="1"/>
              <a:t>sesion</a:t>
            </a:r>
            <a:r>
              <a:rPr lang="en-US" sz="1400" dirty="0"/>
              <a:t>”</a:t>
            </a:r>
          </a:p>
          <a:p>
            <a:r>
              <a:rPr lang="en-US" sz="1400" dirty="0"/>
              <a:t>2. </a:t>
            </a:r>
            <a:r>
              <a:rPr lang="en-US" sz="1400" dirty="0" err="1"/>
              <a:t>Ingresa</a:t>
            </a:r>
            <a:r>
              <a:rPr lang="en-US" sz="1400" dirty="0"/>
              <a:t> con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correo</a:t>
            </a:r>
            <a:r>
              <a:rPr lang="en-US" sz="1400" dirty="0"/>
              <a:t> </a:t>
            </a:r>
            <a:r>
              <a:rPr lang="en-US" sz="1400" dirty="0" err="1"/>
              <a:t>electronico</a:t>
            </a:r>
            <a:r>
              <a:rPr lang="en-US" sz="1400" dirty="0"/>
              <a:t> y </a:t>
            </a:r>
            <a:r>
              <a:rPr lang="en-US" sz="1400" dirty="0" err="1"/>
              <a:t>contraseña</a:t>
            </a:r>
            <a:r>
              <a:rPr lang="en-US" sz="1400" dirty="0"/>
              <a:t> que </a:t>
            </a:r>
            <a:r>
              <a:rPr lang="en-US" sz="1400" dirty="0" err="1"/>
              <a:t>configuraste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la </a:t>
            </a:r>
            <a:r>
              <a:rPr lang="en-US" sz="1400" dirty="0" err="1"/>
              <a:t>creación</a:t>
            </a:r>
            <a:r>
              <a:rPr lang="en-US" sz="1400" dirty="0"/>
              <a:t> de </a:t>
            </a:r>
            <a:r>
              <a:rPr lang="en-US" sz="1400" dirty="0" err="1"/>
              <a:t>cuenta</a:t>
            </a:r>
            <a:endParaRPr lang="en-US" sz="1400" dirty="0"/>
          </a:p>
          <a:p>
            <a:r>
              <a:rPr lang="en-US" sz="1400" dirty="0"/>
              <a:t>3. Si ha </a:t>
            </a:r>
            <a:r>
              <a:rPr lang="en-US" sz="1400" dirty="0" err="1"/>
              <a:t>olvidado</a:t>
            </a:r>
            <a:r>
              <a:rPr lang="en-US" sz="1400" dirty="0"/>
              <a:t> la </a:t>
            </a:r>
            <a:r>
              <a:rPr lang="en-US" sz="1400" dirty="0" err="1"/>
              <a:t>contraseña</a:t>
            </a:r>
            <a:r>
              <a:rPr lang="en-US" sz="1400" dirty="0"/>
              <a:t> de click </a:t>
            </a:r>
            <a:r>
              <a:rPr lang="en-US" sz="1400" dirty="0" err="1"/>
              <a:t>en</a:t>
            </a:r>
            <a:r>
              <a:rPr lang="en-US" sz="1400" dirty="0"/>
              <a:t> la </a:t>
            </a:r>
            <a:r>
              <a:rPr lang="en-US" sz="1400" dirty="0" err="1"/>
              <a:t>opción</a:t>
            </a:r>
            <a:r>
              <a:rPr lang="en-US" sz="1400" dirty="0"/>
              <a:t> “Has </a:t>
            </a:r>
            <a:r>
              <a:rPr lang="en-US" sz="1400" dirty="0" err="1"/>
              <a:t>olvidado</a:t>
            </a:r>
            <a:r>
              <a:rPr lang="en-US" sz="1400" dirty="0"/>
              <a:t> </a:t>
            </a:r>
            <a:r>
              <a:rPr lang="en-US" sz="1400" dirty="0" err="1"/>
              <a:t>tu</a:t>
            </a:r>
            <a:r>
              <a:rPr lang="en-US" sz="1400" dirty="0"/>
              <a:t> </a:t>
            </a:r>
            <a:r>
              <a:rPr lang="en-US" sz="1400" dirty="0" err="1"/>
              <a:t>contraseña</a:t>
            </a:r>
            <a:r>
              <a:rPr lang="en-US" sz="1400" dirty="0"/>
              <a:t>” y </a:t>
            </a:r>
            <a:r>
              <a:rPr lang="en-US" sz="1400" dirty="0" err="1"/>
              <a:t>siga</a:t>
            </a:r>
            <a:r>
              <a:rPr lang="en-US" sz="1400" dirty="0"/>
              <a:t> </a:t>
            </a:r>
            <a:r>
              <a:rPr lang="en-US" sz="1400" dirty="0" err="1"/>
              <a:t>los</a:t>
            </a:r>
            <a:r>
              <a:rPr lang="en-US" sz="1400" dirty="0"/>
              <a:t> pasos</a:t>
            </a:r>
          </a:p>
          <a:p>
            <a:r>
              <a:rPr lang="en-US" sz="1400" dirty="0"/>
              <a:t>4. Dar click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Iniciar</a:t>
            </a:r>
            <a:r>
              <a:rPr lang="en-US" sz="1400" dirty="0"/>
              <a:t> </a:t>
            </a:r>
            <a:r>
              <a:rPr lang="en-US" sz="1400" dirty="0" err="1"/>
              <a:t>sesión</a:t>
            </a:r>
            <a:endParaRPr lang="en-US" sz="14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E8A9C7-0EE4-156D-CF6B-3B6B47BFDA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8434" y="2797035"/>
            <a:ext cx="6133086" cy="348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066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0CF298A-51BC-B310-4054-796E0792E3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86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CF298A-51BC-B310-4054-796E0792E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7F8E0E1F-DAE4-1033-50BA-93B375689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rear un nuevo recordatorio 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2E54ED-EE5E-0E47-911B-50BD52BBF5CD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1. Dar Click </a:t>
            </a:r>
            <a:r>
              <a:rPr lang="en-US" sz="1400" dirty="0" err="1"/>
              <a:t>en</a:t>
            </a:r>
            <a:r>
              <a:rPr lang="en-US" sz="1400" dirty="0"/>
              <a:t> la </a:t>
            </a:r>
            <a:r>
              <a:rPr lang="en-US" sz="1400" dirty="0" err="1"/>
              <a:t>opción</a:t>
            </a:r>
            <a:r>
              <a:rPr lang="en-US" sz="1400" dirty="0"/>
              <a:t> “Nuevo </a:t>
            </a:r>
            <a:r>
              <a:rPr lang="en-US" sz="1400" dirty="0" err="1"/>
              <a:t>recordatorio</a:t>
            </a:r>
            <a:r>
              <a:rPr lang="en-US" sz="1400" dirty="0"/>
              <a:t>”</a:t>
            </a:r>
          </a:p>
          <a:p>
            <a:r>
              <a:rPr lang="en-US" sz="1400" dirty="0"/>
              <a:t>2. Complete </a:t>
            </a:r>
            <a:r>
              <a:rPr lang="en-US" sz="1400" dirty="0" err="1"/>
              <a:t>los</a:t>
            </a:r>
            <a:r>
              <a:rPr lang="en-US" sz="1400" dirty="0"/>
              <a:t> campos </a:t>
            </a:r>
            <a:r>
              <a:rPr lang="en-US" sz="1400" dirty="0" err="1"/>
              <a:t>referente</a:t>
            </a:r>
            <a:r>
              <a:rPr lang="en-US" sz="1400" dirty="0"/>
              <a:t> a la </a:t>
            </a:r>
            <a:r>
              <a:rPr lang="en-US" sz="1400" dirty="0" err="1"/>
              <a:t>información</a:t>
            </a:r>
            <a:r>
              <a:rPr lang="en-US" sz="1400" dirty="0"/>
              <a:t> del Tutor (Dueño de </a:t>
            </a:r>
            <a:r>
              <a:rPr lang="en-US" sz="1400" dirty="0" err="1"/>
              <a:t>Mascota</a:t>
            </a:r>
            <a:r>
              <a:rPr lang="en-US" sz="1400" dirty="0"/>
              <a:t>) y la </a:t>
            </a:r>
            <a:r>
              <a:rPr lang="en-US" sz="1400" dirty="0" err="1"/>
              <a:t>mascota</a:t>
            </a:r>
            <a:endParaRPr lang="en-US" sz="1400" dirty="0"/>
          </a:p>
          <a:p>
            <a:r>
              <a:rPr lang="en-US" sz="1400" dirty="0"/>
              <a:t>3. Siga </a:t>
            </a:r>
            <a:r>
              <a:rPr lang="en-US" sz="1400" dirty="0" err="1"/>
              <a:t>los</a:t>
            </a:r>
            <a:r>
              <a:rPr lang="en-US" sz="1400" dirty="0"/>
              <a:t> pasos para la </a:t>
            </a:r>
            <a:r>
              <a:rPr lang="en-US" sz="1400" dirty="0" err="1"/>
              <a:t>autorización</a:t>
            </a:r>
            <a:r>
              <a:rPr lang="en-US" sz="1400" dirty="0"/>
              <a:t> </a:t>
            </a:r>
            <a:r>
              <a:rPr lang="en-US" sz="1400" dirty="0" err="1"/>
              <a:t>presencial</a:t>
            </a:r>
            <a:r>
              <a:rPr lang="en-US" sz="1400" dirty="0"/>
              <a:t> 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FE819C-36E4-3C17-678F-0F6FE08840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55656"/>
          <a:stretch>
            <a:fillRect/>
          </a:stretch>
        </p:blipFill>
        <p:spPr>
          <a:xfrm>
            <a:off x="616701" y="2455615"/>
            <a:ext cx="5583119" cy="12763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47B7892-668E-BE70-B28A-39E890FDC98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1351"/>
          <a:stretch>
            <a:fillRect/>
          </a:stretch>
        </p:blipFill>
        <p:spPr>
          <a:xfrm>
            <a:off x="1545271" y="3764218"/>
            <a:ext cx="3725980" cy="3034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ECD429-6438-3D92-3264-62EDCC5581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776" y="2078039"/>
            <a:ext cx="3725980" cy="24428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66FFC17-90FA-95E6-265F-B8AF8173EA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0750" y="4573534"/>
            <a:ext cx="3360032" cy="228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9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2A510-2F57-65D4-7F55-C35ADE3997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6321F3C-A542-8382-54CE-D83BB27AFF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321F3C-A542-8382-54CE-D83BB27AFF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C103C9A2-E841-63D5-06E7-2945983D8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rear un nuevo recordatorio 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9AE0FA-C26C-7FB9-38DB-DDE6B74052DC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/>
              <a:t>4. Dar Click </a:t>
            </a:r>
            <a:r>
              <a:rPr lang="en-US" sz="1200" dirty="0" err="1"/>
              <a:t>en</a:t>
            </a:r>
            <a:r>
              <a:rPr lang="en-US" sz="1200" dirty="0"/>
              <a:t> </a:t>
            </a:r>
            <a:r>
              <a:rPr lang="en-US" sz="1200" dirty="0" err="1"/>
              <a:t>Siguiente</a:t>
            </a:r>
            <a:endParaRPr lang="en-US" sz="1200" dirty="0"/>
          </a:p>
          <a:p>
            <a:r>
              <a:rPr lang="en-US" sz="1200" dirty="0"/>
              <a:t>5. Complete </a:t>
            </a:r>
            <a:r>
              <a:rPr lang="en-US" sz="1200" dirty="0" err="1"/>
              <a:t>los</a:t>
            </a:r>
            <a:r>
              <a:rPr lang="en-US" sz="1200" dirty="0"/>
              <a:t> campos del producto o </a:t>
            </a:r>
            <a:r>
              <a:rPr lang="en-US" sz="1200" dirty="0" err="1"/>
              <a:t>servicio</a:t>
            </a:r>
            <a:r>
              <a:rPr lang="en-US" sz="1200" dirty="0"/>
              <a:t> (</a:t>
            </a:r>
            <a:r>
              <a:rPr lang="en-US" sz="1200" dirty="0" err="1"/>
              <a:t>fecha</a:t>
            </a:r>
            <a:r>
              <a:rPr lang="en-US" sz="1200" dirty="0"/>
              <a:t> de </a:t>
            </a:r>
            <a:r>
              <a:rPr lang="en-US" sz="1200" dirty="0" err="1"/>
              <a:t>aplicación</a:t>
            </a:r>
            <a:r>
              <a:rPr lang="en-US" sz="1200" dirty="0"/>
              <a:t> y/o </a:t>
            </a:r>
            <a:r>
              <a:rPr lang="en-US" sz="1200" dirty="0" err="1"/>
              <a:t>suministro</a:t>
            </a:r>
            <a:r>
              <a:rPr lang="en-US" sz="1200" dirty="0"/>
              <a:t> y </a:t>
            </a:r>
            <a:r>
              <a:rPr lang="en-US" sz="1200" dirty="0" err="1"/>
              <a:t>recurrencia</a:t>
            </a:r>
            <a:r>
              <a:rPr lang="en-US" sz="1200" dirty="0"/>
              <a:t> para </a:t>
            </a:r>
            <a:r>
              <a:rPr lang="en-US" sz="1200" dirty="0" err="1"/>
              <a:t>recibir</a:t>
            </a:r>
            <a:r>
              <a:rPr lang="en-US" sz="1200" dirty="0"/>
              <a:t> </a:t>
            </a:r>
            <a:r>
              <a:rPr lang="en-US" sz="1200" dirty="0" err="1"/>
              <a:t>los</a:t>
            </a:r>
            <a:r>
              <a:rPr lang="en-US" sz="1200" dirty="0"/>
              <a:t> </a:t>
            </a:r>
            <a:r>
              <a:rPr lang="en-US" sz="1200" dirty="0" err="1"/>
              <a:t>recordatorios</a:t>
            </a:r>
            <a:r>
              <a:rPr lang="en-US" sz="1200" dirty="0"/>
              <a:t> al </a:t>
            </a:r>
            <a:r>
              <a:rPr lang="en-US" sz="1200" dirty="0" err="1"/>
              <a:t>año</a:t>
            </a:r>
            <a:r>
              <a:rPr lang="en-US" sz="1200" dirty="0"/>
              <a:t>)</a:t>
            </a:r>
          </a:p>
          <a:p>
            <a:r>
              <a:rPr lang="en-US" sz="1200" dirty="0"/>
              <a:t>6. </a:t>
            </a:r>
            <a:r>
              <a:rPr lang="en-US" sz="1200" dirty="0" err="1"/>
              <a:t>Tenga</a:t>
            </a:r>
            <a:r>
              <a:rPr lang="en-US" sz="1200" dirty="0"/>
              <a:t> </a:t>
            </a:r>
            <a:r>
              <a:rPr lang="en-US" sz="1200" dirty="0" err="1"/>
              <a:t>presente</a:t>
            </a:r>
            <a:r>
              <a:rPr lang="en-US" sz="1200" dirty="0"/>
              <a:t> las </a:t>
            </a:r>
            <a:r>
              <a:rPr lang="en-US" sz="1200" dirty="0" err="1"/>
              <a:t>fech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producto </a:t>
            </a:r>
          </a:p>
          <a:p>
            <a:r>
              <a:rPr lang="en-US" sz="1200" dirty="0"/>
              <a:t>7. </a:t>
            </a:r>
            <a:r>
              <a:rPr lang="en-US" sz="1200" dirty="0" err="1"/>
              <a:t>Seleccio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anal de </a:t>
            </a:r>
            <a:r>
              <a:rPr lang="en-US" sz="1200" dirty="0" err="1"/>
              <a:t>comunicación</a:t>
            </a:r>
            <a:r>
              <a:rPr lang="en-US" sz="1200" dirty="0"/>
              <a:t> al que </a:t>
            </a:r>
            <a:r>
              <a:rPr lang="en-US" sz="1200" dirty="0" err="1"/>
              <a:t>requiere</a:t>
            </a:r>
            <a:r>
              <a:rPr lang="en-US" sz="1200" dirty="0"/>
              <a:t> </a:t>
            </a:r>
            <a:r>
              <a:rPr lang="en-US" sz="1200" dirty="0" err="1"/>
              <a:t>enviar</a:t>
            </a:r>
            <a:r>
              <a:rPr lang="en-US" sz="1200" dirty="0"/>
              <a:t> (SMS o WA) </a:t>
            </a:r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448EDA-E249-8598-E61E-EAE43ED9E04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51779"/>
          <a:stretch>
            <a:fillRect/>
          </a:stretch>
        </p:blipFill>
        <p:spPr>
          <a:xfrm>
            <a:off x="1182875" y="2148100"/>
            <a:ext cx="3653036" cy="12588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726086E-65A8-5E7C-5300-EF9A5809AAA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8642"/>
          <a:stretch>
            <a:fillRect/>
          </a:stretch>
        </p:blipFill>
        <p:spPr>
          <a:xfrm>
            <a:off x="5997149" y="5556302"/>
            <a:ext cx="1119794" cy="13016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1C6EFC-3833-22B9-3159-45A8A94C16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9971" y="4243913"/>
            <a:ext cx="1126972" cy="1362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F84AABA-5725-5F7D-0530-5E4E00F076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7149" y="3040854"/>
            <a:ext cx="1073070" cy="13059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19B229-10ED-5D7F-E6D2-B83C5FDCC6E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48642"/>
          <a:stretch>
            <a:fillRect/>
          </a:stretch>
        </p:blipFill>
        <p:spPr>
          <a:xfrm>
            <a:off x="5997149" y="1754638"/>
            <a:ext cx="1119794" cy="13016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49D9343-FC52-CED9-788A-8671807C60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09429" y="2078439"/>
            <a:ext cx="1834377" cy="3288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E8F3F6-833D-63C2-E69E-8EB83D2130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63325" y="4478236"/>
            <a:ext cx="1302968" cy="136285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217CD7B-6D4D-61D6-6ED3-0480529D25B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86943" y="2938519"/>
            <a:ext cx="1279350" cy="122458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3BA94BF-3E2E-6686-E365-ABD9FD3D3702}"/>
              </a:ext>
            </a:extLst>
          </p:cNvPr>
          <p:cNvSpPr txBox="1"/>
          <p:nvPr/>
        </p:nvSpPr>
        <p:spPr>
          <a:xfrm>
            <a:off x="7168484" y="1985696"/>
            <a:ext cx="1342470" cy="2227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1 </a:t>
            </a:r>
            <a:r>
              <a:rPr lang="en-US" sz="1200" dirty="0"/>
              <a:t>(</a:t>
            </a:r>
            <a:r>
              <a:rPr lang="en-US" sz="1200" dirty="0" err="1"/>
              <a:t>Envío</a:t>
            </a:r>
            <a:r>
              <a:rPr lang="en-US" sz="1200" dirty="0"/>
              <a:t> </a:t>
            </a:r>
            <a:r>
              <a:rPr lang="en-US" sz="1200" dirty="0" err="1"/>
              <a:t>tres</a:t>
            </a:r>
            <a:r>
              <a:rPr lang="en-US" sz="1200" dirty="0"/>
              <a:t> días antes de </a:t>
            </a:r>
            <a:r>
              <a:rPr lang="en-US" sz="1200" dirty="0" err="1"/>
              <a:t>completa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año</a:t>
            </a:r>
            <a:r>
              <a:rPr lang="en-US" sz="1200" dirty="0"/>
              <a:t>)</a:t>
            </a:r>
          </a:p>
          <a:p>
            <a:pPr algn="l"/>
            <a:r>
              <a:rPr lang="en-US" sz="1200" dirty="0"/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B11F1A-02DD-89CF-10C1-93A72DC3D874}"/>
              </a:ext>
            </a:extLst>
          </p:cNvPr>
          <p:cNvSpPr txBox="1"/>
          <p:nvPr/>
        </p:nvSpPr>
        <p:spPr>
          <a:xfrm>
            <a:off x="7239756" y="5951002"/>
            <a:ext cx="2165666" cy="328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4</a:t>
            </a:r>
          </a:p>
          <a:p>
            <a:pPr algn="l"/>
            <a:r>
              <a:rPr lang="en-US" sz="1200" dirty="0" err="1"/>
              <a:t>Envío</a:t>
            </a:r>
            <a:r>
              <a:rPr lang="en-US" sz="1200" dirty="0"/>
              <a:t> 3 días antes de completer </a:t>
            </a:r>
            <a:r>
              <a:rPr lang="en-US" sz="1200" dirty="0" err="1"/>
              <a:t>los</a:t>
            </a:r>
            <a:r>
              <a:rPr lang="en-US" sz="1200" dirty="0"/>
              <a:t> 3 meses)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AF4A6C0-AB0A-4798-5EA8-86DF5B864C25}"/>
              </a:ext>
            </a:extLst>
          </p:cNvPr>
          <p:cNvSpPr txBox="1"/>
          <p:nvPr/>
        </p:nvSpPr>
        <p:spPr>
          <a:xfrm>
            <a:off x="10637353" y="3402352"/>
            <a:ext cx="1834377" cy="374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(a </a:t>
            </a:r>
            <a:r>
              <a:rPr lang="en-US" sz="1200" b="1" dirty="0" err="1"/>
              <a:t>disposición</a:t>
            </a:r>
            <a:r>
              <a:rPr lang="en-US" sz="1200" b="1" dirty="0"/>
              <a:t>)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05D0F6-68F1-4C13-FD0E-A0B64B78DDFD}"/>
              </a:ext>
            </a:extLst>
          </p:cNvPr>
          <p:cNvSpPr txBox="1"/>
          <p:nvPr/>
        </p:nvSpPr>
        <p:spPr>
          <a:xfrm>
            <a:off x="7181506" y="3554022"/>
            <a:ext cx="1590014" cy="3359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12</a:t>
            </a:r>
          </a:p>
          <a:p>
            <a:pPr algn="l"/>
            <a:r>
              <a:rPr lang="en-US" sz="1200" dirty="0"/>
              <a:t>(</a:t>
            </a:r>
            <a:r>
              <a:rPr lang="en-US" sz="1200" dirty="0" err="1"/>
              <a:t>Envío</a:t>
            </a:r>
            <a:r>
              <a:rPr lang="en-US" sz="1200" dirty="0"/>
              <a:t> </a:t>
            </a:r>
            <a:r>
              <a:rPr lang="en-US" sz="1200" dirty="0" err="1"/>
              <a:t>cada</a:t>
            </a:r>
            <a:r>
              <a:rPr lang="en-US" sz="1200" dirty="0"/>
              <a:t> 37 días)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772CF6-E619-D18D-441F-3926D2B4ABEB}"/>
              </a:ext>
            </a:extLst>
          </p:cNvPr>
          <p:cNvSpPr txBox="1"/>
          <p:nvPr/>
        </p:nvSpPr>
        <p:spPr>
          <a:xfrm>
            <a:off x="10626757" y="4920449"/>
            <a:ext cx="1834377" cy="374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(a </a:t>
            </a:r>
            <a:r>
              <a:rPr lang="en-US" sz="1200" b="1" dirty="0" err="1"/>
              <a:t>disposición</a:t>
            </a:r>
            <a:r>
              <a:rPr lang="en-US" sz="1200" b="1" dirty="0"/>
              <a:t>)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8DE1118-371B-E9EA-4E99-C416A6E81441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b="27947"/>
          <a:stretch>
            <a:fillRect/>
          </a:stretch>
        </p:blipFill>
        <p:spPr>
          <a:xfrm>
            <a:off x="1581295" y="3402352"/>
            <a:ext cx="3084490" cy="209571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BDD0175-24BA-1914-EE0C-CCB7D2038968}"/>
              </a:ext>
            </a:extLst>
          </p:cNvPr>
          <p:cNvSpPr txBox="1"/>
          <p:nvPr/>
        </p:nvSpPr>
        <p:spPr>
          <a:xfrm>
            <a:off x="10833431" y="1997193"/>
            <a:ext cx="1342470" cy="2227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1 </a:t>
            </a:r>
            <a:r>
              <a:rPr lang="en-US" sz="1200" dirty="0"/>
              <a:t>(</a:t>
            </a:r>
            <a:r>
              <a:rPr lang="en-US" sz="1200" dirty="0" err="1"/>
              <a:t>Envío</a:t>
            </a:r>
            <a:r>
              <a:rPr lang="en-US" sz="1200" dirty="0"/>
              <a:t> </a:t>
            </a:r>
            <a:r>
              <a:rPr lang="en-US" sz="1200" dirty="0" err="1"/>
              <a:t>tres</a:t>
            </a:r>
            <a:r>
              <a:rPr lang="en-US" sz="1200" dirty="0"/>
              <a:t> días antes de completer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año</a:t>
            </a:r>
            <a:r>
              <a:rPr lang="en-US" sz="1200" dirty="0"/>
              <a:t>)</a:t>
            </a:r>
          </a:p>
          <a:p>
            <a:pPr algn="l"/>
            <a:r>
              <a:rPr lang="en-US" sz="1200" dirty="0"/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DE6FA0-E33F-8657-2D25-1D59BB2F0C32}"/>
              </a:ext>
            </a:extLst>
          </p:cNvPr>
          <p:cNvSpPr txBox="1"/>
          <p:nvPr/>
        </p:nvSpPr>
        <p:spPr>
          <a:xfrm>
            <a:off x="7181506" y="4651283"/>
            <a:ext cx="1590014" cy="3359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 err="1"/>
              <a:t>Recurrencia</a:t>
            </a:r>
            <a:r>
              <a:rPr lang="en-US" sz="1200" b="1" dirty="0"/>
              <a:t>  12</a:t>
            </a:r>
          </a:p>
          <a:p>
            <a:pPr algn="l"/>
            <a:r>
              <a:rPr lang="en-US" sz="1200" dirty="0"/>
              <a:t>(</a:t>
            </a:r>
            <a:r>
              <a:rPr lang="en-US" sz="1200" dirty="0" err="1"/>
              <a:t>Envío</a:t>
            </a:r>
            <a:r>
              <a:rPr lang="en-US" sz="1200" dirty="0"/>
              <a:t> </a:t>
            </a:r>
            <a:r>
              <a:rPr lang="en-US" sz="1200" dirty="0" err="1"/>
              <a:t>cada</a:t>
            </a:r>
            <a:r>
              <a:rPr lang="en-US" sz="1200" dirty="0"/>
              <a:t> 37 días)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0F454AD-91E8-E126-BCB4-FE51D333091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62277"/>
          <a:stretch>
            <a:fillRect/>
          </a:stretch>
        </p:blipFill>
        <p:spPr>
          <a:xfrm>
            <a:off x="1420768" y="5365959"/>
            <a:ext cx="3245017" cy="114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8614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7BA87-2F71-DA70-D917-8926F67E3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175554D-D7D5-45E3-7242-120A83AEEE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75554D-D7D5-45E3-7242-120A83AEE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3B9786CF-9FBA-B831-3511-7CCECF54E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rear un nuevo recordatorio 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95096E-1FF6-8EE7-0FC7-340107A92C7B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/>
              <a:t>8. </a:t>
            </a:r>
            <a:r>
              <a:rPr lang="en-US" sz="1200" dirty="0" err="1"/>
              <a:t>Compruebe</a:t>
            </a:r>
            <a:r>
              <a:rPr lang="en-US" sz="1200" dirty="0"/>
              <a:t> la </a:t>
            </a:r>
            <a:r>
              <a:rPr lang="en-US" sz="1200" dirty="0" err="1"/>
              <a:t>información</a:t>
            </a:r>
            <a:r>
              <a:rPr lang="en-US" sz="1200" dirty="0"/>
              <a:t> para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envío</a:t>
            </a:r>
            <a:endParaRPr lang="en-US" sz="1200" dirty="0"/>
          </a:p>
          <a:p>
            <a:r>
              <a:rPr lang="en-US" sz="1200" dirty="0"/>
              <a:t>9.Revise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mensaje</a:t>
            </a:r>
            <a:r>
              <a:rPr lang="en-US" sz="1200" dirty="0"/>
              <a:t> o </a:t>
            </a:r>
            <a:r>
              <a:rPr lang="en-US" sz="1200" dirty="0" err="1"/>
              <a:t>los</a:t>
            </a:r>
            <a:r>
              <a:rPr lang="en-US" sz="1200" dirty="0"/>
              <a:t> </a:t>
            </a:r>
            <a:r>
              <a:rPr lang="en-US" sz="1200" dirty="0" err="1"/>
              <a:t>mensajes</a:t>
            </a:r>
            <a:r>
              <a:rPr lang="en-US" sz="1200" dirty="0"/>
              <a:t> que le </a:t>
            </a:r>
            <a:r>
              <a:rPr lang="en-US" sz="1200" dirty="0" err="1"/>
              <a:t>llegarán</a:t>
            </a:r>
            <a:r>
              <a:rPr lang="en-US" sz="1200" dirty="0"/>
              <a:t> al </a:t>
            </a:r>
            <a:r>
              <a:rPr lang="en-US" sz="1200" dirty="0" err="1"/>
              <a:t>cliente</a:t>
            </a:r>
            <a:r>
              <a:rPr lang="en-US" sz="1200" dirty="0"/>
              <a:t> y la </a:t>
            </a:r>
            <a:r>
              <a:rPr lang="en-US" sz="1200" dirty="0" err="1"/>
              <a:t>fecha</a:t>
            </a:r>
            <a:r>
              <a:rPr lang="en-US" sz="1200" dirty="0"/>
              <a:t> de </a:t>
            </a:r>
            <a:r>
              <a:rPr lang="en-US" sz="1200" dirty="0" err="1"/>
              <a:t>envío</a:t>
            </a:r>
            <a:endParaRPr lang="en-US" sz="1200" dirty="0"/>
          </a:p>
          <a:p>
            <a:r>
              <a:rPr lang="en-US" sz="1200" dirty="0"/>
              <a:t>9. Da Click </a:t>
            </a:r>
            <a:r>
              <a:rPr lang="en-US" sz="1200" dirty="0" err="1"/>
              <a:t>en</a:t>
            </a:r>
            <a:r>
              <a:rPr lang="en-US" sz="1200" dirty="0"/>
              <a:t> “Crear </a:t>
            </a:r>
            <a:r>
              <a:rPr lang="en-US" sz="1200" dirty="0" err="1"/>
              <a:t>recordatorio</a:t>
            </a:r>
            <a:r>
              <a:rPr lang="en-US" sz="1200" dirty="0"/>
              <a:t>”</a:t>
            </a:r>
          </a:p>
          <a:p>
            <a:r>
              <a:rPr lang="en-US" sz="1200" dirty="0"/>
              <a:t>10. El </a:t>
            </a:r>
            <a:r>
              <a:rPr lang="en-US" sz="1200" dirty="0" err="1"/>
              <a:t>mensaje</a:t>
            </a:r>
            <a:r>
              <a:rPr lang="en-US" sz="1200" dirty="0"/>
              <a:t> se </a:t>
            </a:r>
            <a:r>
              <a:rPr lang="en-US" sz="1200" dirty="0" err="1"/>
              <a:t>programará</a:t>
            </a:r>
            <a:r>
              <a:rPr lang="en-US" sz="1200" dirty="0"/>
              <a:t> y se </a:t>
            </a:r>
            <a:r>
              <a:rPr lang="en-US" sz="1200" dirty="0" err="1"/>
              <a:t>enviará</a:t>
            </a:r>
            <a:r>
              <a:rPr lang="en-US" sz="1200" dirty="0"/>
              <a:t> </a:t>
            </a:r>
            <a:r>
              <a:rPr lang="en-US" sz="1200" dirty="0" err="1"/>
              <a:t>utomáticamente</a:t>
            </a:r>
            <a:r>
              <a:rPr lang="en-US" sz="1200" dirty="0"/>
              <a:t> </a:t>
            </a:r>
            <a:r>
              <a:rPr lang="en-US" sz="1200" dirty="0" err="1"/>
              <a:t>en</a:t>
            </a:r>
            <a:r>
              <a:rPr lang="en-US" sz="1200" dirty="0"/>
              <a:t> la </a:t>
            </a:r>
            <a:r>
              <a:rPr lang="en-US" sz="1200" dirty="0" err="1"/>
              <a:t>fecha</a:t>
            </a:r>
            <a:r>
              <a:rPr lang="en-US" sz="1200" dirty="0"/>
              <a:t> </a:t>
            </a:r>
            <a:r>
              <a:rPr lang="en-US" sz="1200" dirty="0" err="1"/>
              <a:t>calculada</a:t>
            </a:r>
            <a:endParaRPr lang="en-US" sz="12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3B6C49-9690-4A89-90AD-30B901DDE3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3558" y="2364320"/>
            <a:ext cx="3302170" cy="30672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9AF0CA-07EC-0D44-DC28-F54B19C15A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4144" y="2462237"/>
            <a:ext cx="3238666" cy="30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9278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7F0BC-D215-BD0F-1A9C-0C0DC1049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2B30D54-E36E-93C8-7DAF-3E252BB99B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30D54-E36E-93C8-7DAF-3E252BB99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43685878-3EAA-BC37-15DF-8DE781EE4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/>
          <a:p>
            <a:r>
              <a:rPr lang="pt-BR" sz="2400" b="1" kern="0" dirty="0">
                <a:solidFill>
                  <a:schemeClr val="tx1"/>
                </a:solidFill>
                <a:latin typeface="Arial"/>
              </a:rPr>
              <a:t>Clientela  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EE5AF3-0FFB-3B58-C2C9-357B5C0E9AC0}"/>
              </a:ext>
            </a:extLst>
          </p:cNvPr>
          <p:cNvSpPr txBox="1"/>
          <p:nvPr/>
        </p:nvSpPr>
        <p:spPr>
          <a:xfrm>
            <a:off x="515404" y="1227932"/>
            <a:ext cx="10963491" cy="4815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/>
              <a:t>1. </a:t>
            </a:r>
            <a:r>
              <a:rPr lang="en-US" sz="1200" dirty="0" err="1"/>
              <a:t>Ingresa</a:t>
            </a:r>
            <a:r>
              <a:rPr lang="en-US" sz="1200" dirty="0"/>
              <a:t> a la </a:t>
            </a:r>
            <a:r>
              <a:rPr lang="en-US" sz="1200" dirty="0" err="1"/>
              <a:t>opción</a:t>
            </a:r>
            <a:r>
              <a:rPr lang="en-US" sz="1200" dirty="0"/>
              <a:t> </a:t>
            </a:r>
            <a:r>
              <a:rPr lang="en-US" sz="1200" dirty="0" err="1"/>
              <a:t>clientela</a:t>
            </a:r>
            <a:endParaRPr lang="en-US" sz="1200" dirty="0"/>
          </a:p>
          <a:p>
            <a:r>
              <a:rPr lang="en-US" sz="1200" dirty="0"/>
              <a:t>2. </a:t>
            </a:r>
            <a:r>
              <a:rPr lang="en-US" sz="1200" dirty="0" err="1"/>
              <a:t>Importe</a:t>
            </a:r>
            <a:r>
              <a:rPr lang="en-US" sz="1200" dirty="0"/>
              <a:t> </a:t>
            </a:r>
            <a:r>
              <a:rPr lang="en-US" sz="1200" dirty="0" err="1"/>
              <a:t>su</a:t>
            </a:r>
            <a:r>
              <a:rPr lang="en-US" sz="1200" dirty="0"/>
              <a:t> base de </a:t>
            </a:r>
            <a:r>
              <a:rPr lang="en-US" sz="1200" dirty="0" err="1"/>
              <a:t>datos</a:t>
            </a:r>
            <a:r>
              <a:rPr lang="en-US" sz="1200" dirty="0"/>
              <a:t> con </a:t>
            </a:r>
            <a:r>
              <a:rPr lang="en-US" sz="1200" dirty="0" err="1"/>
              <a:t>los</a:t>
            </a:r>
            <a:r>
              <a:rPr lang="en-US" sz="1200" dirty="0"/>
              <a:t> campos </a:t>
            </a:r>
            <a:r>
              <a:rPr lang="en-US" sz="1200" dirty="0" err="1"/>
              <a:t>mandatorios</a:t>
            </a:r>
            <a:r>
              <a:rPr lang="en-US" sz="1200" dirty="0"/>
              <a:t> </a:t>
            </a:r>
            <a:r>
              <a:rPr lang="en-US" sz="1200" dirty="0" err="1"/>
              <a:t>desde</a:t>
            </a:r>
            <a:r>
              <a:rPr lang="en-US" sz="1200" dirty="0"/>
              <a:t> un </a:t>
            </a:r>
            <a:r>
              <a:rPr lang="en-US" sz="1200" dirty="0" err="1"/>
              <a:t>formato</a:t>
            </a:r>
            <a:r>
              <a:rPr lang="en-US" sz="1200" dirty="0"/>
              <a:t> excel (</a:t>
            </a:r>
            <a:r>
              <a:rPr lang="en-US" sz="1200" dirty="0" err="1"/>
              <a:t>el</a:t>
            </a:r>
            <a:r>
              <a:rPr lang="en-US" sz="1200" dirty="0"/>
              <a:t> Sistema le </a:t>
            </a:r>
            <a:r>
              <a:rPr lang="en-US" sz="1200" dirty="0" err="1"/>
              <a:t>mostrará</a:t>
            </a:r>
            <a:r>
              <a:rPr lang="en-US" sz="1200" dirty="0"/>
              <a:t> un </a:t>
            </a:r>
            <a:r>
              <a:rPr lang="en-US" sz="1200" dirty="0" err="1"/>
              <a:t>ejemplo</a:t>
            </a:r>
            <a:r>
              <a:rPr lang="en-US" sz="1200" dirty="0"/>
              <a:t> con </a:t>
            </a:r>
            <a:r>
              <a:rPr lang="en-US" sz="1200" dirty="0" err="1"/>
              <a:t>los</a:t>
            </a:r>
            <a:r>
              <a:rPr lang="en-US" sz="1200" dirty="0"/>
              <a:t> campos mandatories </a:t>
            </a:r>
            <a:r>
              <a:rPr lang="en-US" sz="1200" dirty="0" err="1"/>
              <a:t>una</a:t>
            </a:r>
            <a:r>
              <a:rPr lang="en-US" sz="1200" dirty="0"/>
              <a:t> </a:t>
            </a:r>
            <a:r>
              <a:rPr lang="en-US" sz="1200" dirty="0" err="1"/>
              <a:t>vez</a:t>
            </a:r>
            <a:r>
              <a:rPr lang="en-US" sz="1200" dirty="0"/>
              <a:t> de click </a:t>
            </a:r>
            <a:r>
              <a:rPr lang="en-US" sz="1200" dirty="0" err="1"/>
              <a:t>en</a:t>
            </a:r>
            <a:r>
              <a:rPr lang="en-US" sz="1200" dirty="0"/>
              <a:t> importer)</a:t>
            </a:r>
          </a:p>
          <a:p>
            <a:r>
              <a:rPr lang="en-US" sz="1200" dirty="0"/>
              <a:t>3. En la </a:t>
            </a:r>
            <a:r>
              <a:rPr lang="en-US" sz="1200" dirty="0" err="1"/>
              <a:t>opción</a:t>
            </a:r>
            <a:r>
              <a:rPr lang="en-US" sz="1200" dirty="0"/>
              <a:t> de </a:t>
            </a:r>
            <a:r>
              <a:rPr lang="en-US" sz="1200" dirty="0" err="1"/>
              <a:t>filtro</a:t>
            </a:r>
            <a:r>
              <a:rPr lang="en-US" sz="1200" dirty="0"/>
              <a:t> </a:t>
            </a:r>
            <a:r>
              <a:rPr lang="en-US" sz="1200" dirty="0" err="1"/>
              <a:t>puede</a:t>
            </a:r>
            <a:r>
              <a:rPr lang="en-US" sz="1200" dirty="0"/>
              <a:t> </a:t>
            </a:r>
            <a:r>
              <a:rPr lang="en-US" sz="1200" dirty="0" err="1"/>
              <a:t>buscar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nombre</a:t>
            </a:r>
            <a:r>
              <a:rPr lang="en-US" sz="1200" dirty="0"/>
              <a:t> de persona o </a:t>
            </a:r>
            <a:r>
              <a:rPr lang="en-US" sz="1200" dirty="0" err="1"/>
              <a:t>celular</a:t>
            </a:r>
            <a:r>
              <a:rPr lang="en-US" sz="1200" dirty="0"/>
              <a:t> para saber </a:t>
            </a:r>
            <a:r>
              <a:rPr lang="en-US" sz="1200" dirty="0" err="1"/>
              <a:t>si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tutor </a:t>
            </a:r>
            <a:r>
              <a:rPr lang="en-US" sz="1200" dirty="0" err="1"/>
              <a:t>dio</a:t>
            </a:r>
            <a:r>
              <a:rPr lang="en-US" sz="1200" dirty="0"/>
              <a:t> la </a:t>
            </a:r>
            <a:r>
              <a:rPr lang="en-US" sz="1200" dirty="0" err="1"/>
              <a:t>autorización</a:t>
            </a:r>
            <a:r>
              <a:rPr lang="en-US" sz="1200" dirty="0"/>
              <a:t> para </a:t>
            </a:r>
            <a:r>
              <a:rPr lang="en-US" sz="1200" dirty="0" err="1"/>
              <a:t>recibir</a:t>
            </a:r>
            <a:r>
              <a:rPr lang="en-US" sz="1200" dirty="0"/>
              <a:t> </a:t>
            </a:r>
            <a:r>
              <a:rPr lang="en-US" sz="1200" dirty="0" err="1"/>
              <a:t>mensajes</a:t>
            </a:r>
            <a:r>
              <a:rPr lang="en-US" sz="1200" dirty="0"/>
              <a:t> o </a:t>
            </a:r>
            <a:r>
              <a:rPr lang="en-US" sz="1200" dirty="0" err="1"/>
              <a:t>cambiar</a:t>
            </a:r>
            <a:r>
              <a:rPr lang="en-US" sz="1200" dirty="0"/>
              <a:t> </a:t>
            </a:r>
            <a:r>
              <a:rPr lang="en-US" sz="1200" dirty="0" err="1"/>
              <a:t>los</a:t>
            </a:r>
            <a:r>
              <a:rPr lang="en-US" sz="1200" dirty="0"/>
              <a:t> </a:t>
            </a:r>
            <a:r>
              <a:rPr lang="en-US" sz="1200" dirty="0" err="1"/>
              <a:t>datos</a:t>
            </a:r>
            <a:r>
              <a:rPr lang="en-US" sz="1200" dirty="0"/>
              <a:t> del </a:t>
            </a:r>
            <a:r>
              <a:rPr lang="en-US" sz="1200" dirty="0" err="1"/>
              <a:t>cliente</a:t>
            </a:r>
            <a:r>
              <a:rPr lang="en-US" sz="1200" dirty="0"/>
              <a:t>. </a:t>
            </a:r>
            <a:r>
              <a:rPr lang="en-US" sz="1200" dirty="0" err="1"/>
              <a:t>Recuerda</a:t>
            </a:r>
            <a:r>
              <a:rPr lang="en-US" sz="1200" dirty="0"/>
              <a:t> </a:t>
            </a:r>
            <a:r>
              <a:rPr lang="en-US" sz="1200" dirty="0" err="1"/>
              <a:t>siempre</a:t>
            </a:r>
            <a:r>
              <a:rPr lang="en-US" sz="1200" dirty="0"/>
              <a:t> </a:t>
            </a:r>
            <a:r>
              <a:rPr lang="en-US" sz="1200" dirty="0" err="1"/>
              <a:t>darle</a:t>
            </a:r>
            <a:r>
              <a:rPr lang="en-US" sz="1200" dirty="0"/>
              <a:t> “</a:t>
            </a:r>
            <a:r>
              <a:rPr lang="en-US" sz="1200" dirty="0" err="1"/>
              <a:t>Guardar</a:t>
            </a:r>
            <a:r>
              <a:rPr lang="en-US" sz="1200" dirty="0"/>
              <a:t>”</a:t>
            </a:r>
          </a:p>
          <a:p>
            <a:r>
              <a:rPr lang="en-US" sz="1200" dirty="0"/>
              <a:t>4. Una </a:t>
            </a:r>
            <a:r>
              <a:rPr lang="en-US" sz="1200" dirty="0" err="1"/>
              <a:t>vez</a:t>
            </a:r>
            <a:r>
              <a:rPr lang="en-US" sz="1200" dirty="0"/>
              <a:t> </a:t>
            </a:r>
            <a:r>
              <a:rPr lang="en-US" sz="1200" dirty="0" err="1"/>
              <a:t>tenga</a:t>
            </a:r>
            <a:r>
              <a:rPr lang="en-US" sz="1200" dirty="0"/>
              <a:t> </a:t>
            </a:r>
            <a:r>
              <a:rPr lang="en-US" sz="1200" dirty="0" err="1"/>
              <a:t>cargados</a:t>
            </a:r>
            <a:r>
              <a:rPr lang="en-US" sz="1200" dirty="0"/>
              <a:t> </a:t>
            </a:r>
            <a:r>
              <a:rPr lang="en-US" sz="1200" dirty="0" err="1"/>
              <a:t>varios</a:t>
            </a:r>
            <a:r>
              <a:rPr lang="en-US" sz="1200" dirty="0"/>
              <a:t> </a:t>
            </a:r>
            <a:r>
              <a:rPr lang="en-US" sz="1200" dirty="0" err="1"/>
              <a:t>tutores</a:t>
            </a:r>
            <a:r>
              <a:rPr lang="en-US" sz="1200" dirty="0"/>
              <a:t> sea de forma </a:t>
            </a:r>
            <a:r>
              <a:rPr lang="en-US" sz="1200" dirty="0" err="1"/>
              <a:t>masiva</a:t>
            </a:r>
            <a:r>
              <a:rPr lang="en-US" sz="1200" dirty="0"/>
              <a:t> o personal, </a:t>
            </a:r>
            <a:r>
              <a:rPr lang="en-US" sz="1200" dirty="0" err="1"/>
              <a:t>puede</a:t>
            </a:r>
            <a:r>
              <a:rPr lang="en-US" sz="1200" dirty="0"/>
              <a:t> </a:t>
            </a:r>
            <a:r>
              <a:rPr lang="en-US" sz="1200" dirty="0" err="1"/>
              <a:t>exportar</a:t>
            </a:r>
            <a:r>
              <a:rPr lang="en-US" sz="1200" dirty="0"/>
              <a:t> la base complete </a:t>
            </a:r>
            <a:r>
              <a:rPr lang="en-US" sz="1200" dirty="0" err="1"/>
              <a:t>cargada</a:t>
            </a:r>
            <a:r>
              <a:rPr lang="en-US" sz="1200" dirty="0"/>
              <a:t> hasta la </a:t>
            </a:r>
            <a:r>
              <a:rPr lang="en-US" sz="1200" dirty="0" err="1"/>
              <a:t>fecha</a:t>
            </a:r>
            <a:r>
              <a:rPr lang="en-US" sz="1200" dirty="0"/>
              <a:t> </a:t>
            </a:r>
            <a:r>
              <a:rPr lang="en-US" sz="1200" dirty="0" err="1"/>
              <a:t>en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</a:t>
            </a:r>
            <a:r>
              <a:rPr lang="en-US" sz="1200" dirty="0" err="1"/>
              <a:t>botón</a:t>
            </a:r>
            <a:r>
              <a:rPr lang="en-US" sz="1200" dirty="0"/>
              <a:t> “</a:t>
            </a:r>
            <a:r>
              <a:rPr lang="en-US" sz="1200" dirty="0" err="1"/>
              <a:t>exportar</a:t>
            </a:r>
            <a:r>
              <a:rPr lang="en-US" sz="1200" dirty="0"/>
              <a:t>” </a:t>
            </a:r>
          </a:p>
          <a:p>
            <a:endParaRPr lang="en-US" sz="1400" dirty="0"/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1026" name="Imagem 4">
            <a:extLst>
              <a:ext uri="{FF2B5EF4-FFF2-40B4-BE49-F238E27FC236}">
                <a16:creationId xmlns:a16="http://schemas.microsoft.com/office/drawing/2014/main" id="{C4833B49-DD51-30E1-B9E3-9E7FCBAE47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3" t="10122" r="6087" b="18477"/>
          <a:stretch>
            <a:fillRect/>
          </a:stretch>
        </p:blipFill>
        <p:spPr bwMode="auto">
          <a:xfrm>
            <a:off x="377825" y="3137183"/>
            <a:ext cx="5943599" cy="265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m 5">
            <a:extLst>
              <a:ext uri="{FF2B5EF4-FFF2-40B4-BE49-F238E27FC236}">
                <a16:creationId xmlns:a16="http://schemas.microsoft.com/office/drawing/2014/main" id="{8E1622D8-A405-9469-1C56-4B35F1CA5B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71" t="25074" r="36142" b="18472"/>
          <a:stretch>
            <a:fillRect/>
          </a:stretch>
        </p:blipFill>
        <p:spPr bwMode="auto">
          <a:xfrm>
            <a:off x="6476058" y="3137183"/>
            <a:ext cx="2479797" cy="2812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134EDA7-AB72-4349-4DB6-BB729349C572}"/>
              </a:ext>
            </a:extLst>
          </p:cNvPr>
          <p:cNvSpPr/>
          <p:nvPr/>
        </p:nvSpPr>
        <p:spPr>
          <a:xfrm>
            <a:off x="5582339" y="4865077"/>
            <a:ext cx="609600" cy="3165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17774C5-A3E7-CFDB-9ACB-E810052E1A57}"/>
              </a:ext>
            </a:extLst>
          </p:cNvPr>
          <p:cNvSpPr/>
          <p:nvPr/>
        </p:nvSpPr>
        <p:spPr>
          <a:xfrm>
            <a:off x="4972739" y="4865077"/>
            <a:ext cx="609600" cy="3165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A1CBE1-435E-88C9-1ACF-68429D1490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55855" y="2948886"/>
            <a:ext cx="2152761" cy="30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47540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1.53144100000000005224E+00&quot;&gt;&lt;m_msothmcolidx val=&quot;0&quot;/&gt;&lt;m_rgb r=&quot;FA&quot; g=&quot;E9&quot; b=&quot;A2&quot;/&gt;&lt;/elem&gt;&lt;elem m_fUsage=&quot;1.46609999999999995879E+00&quot;&gt;&lt;m_msothmcolidx val=&quot;0&quot;/&gt;&lt;m_rgb r=&quot;FB&quot; g=&quot;9F&quot; b=&quot;9D&quot;/&gt;&lt;/elem&gt;&lt;elem m_fUsage=&quot;1.37829690000000004702E+00&quot;&gt;&lt;m_msothmcolidx val=&quot;0&quot;/&gt;&lt;m_rgb r=&quot;C3&quot; g=&quot;E8&quot; b=&quot;B0&quot;/&gt;&lt;/elem&gt;&lt;elem m_fUsage=&quot;7.29000000000000092371E-01&quot;&gt;&lt;m_msothmcolidx val=&quot;0&quot;/&gt;&lt;m_rgb r=&quot;FF&quot; g=&quot;C0&quot; b=&quot;00&quot;/&gt;&lt;/elem&gt;&lt;elem m_fUsage=&quot;5.90490000000000181402E-01&quot;&gt;&lt;m_msothmcolidx val=&quot;0&quot;/&gt;&lt;m_rgb r=&quot;F3&quot; g=&quot;A8&quot; b=&quot;AD&quot;/&gt;&lt;/elem&gt;&lt;elem m_fUsage=&quot;4.30467210000000155556E-01&quot;&gt;&lt;m_msothmcolidx val=&quot;0&quot;/&gt;&lt;m_rgb r=&quot;98&quot; g=&quot;CA&quot; b=&quot;F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6lqUylNPl.7XGIxYp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envue">
  <a:themeElements>
    <a:clrScheme name="Kenvue 1">
      <a:dk1>
        <a:srgbClr val="000000"/>
      </a:dk1>
      <a:lt1>
        <a:srgbClr val="FFFFFF"/>
      </a:lt1>
      <a:dk2>
        <a:srgbClr val="777777"/>
      </a:dk2>
      <a:lt2>
        <a:srgbClr val="ECECEC"/>
      </a:lt2>
      <a:accent1>
        <a:srgbClr val="019881"/>
      </a:accent1>
      <a:accent2>
        <a:srgbClr val="FFB000"/>
      </a:accent2>
      <a:accent3>
        <a:srgbClr val="D3BDF2"/>
      </a:accent3>
      <a:accent4>
        <a:srgbClr val="FF6B6B"/>
      </a:accent4>
      <a:accent5>
        <a:srgbClr val="3774B1"/>
      </a:accent5>
      <a:accent6>
        <a:srgbClr val="BCD53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1200" cap="none" spc="0" normalizeH="0" baseline="0" noProof="0" dirty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Trust Green">
      <a:srgbClr val="019881"/>
    </a:custClr>
    <a:custClr name="Care Yellow">
      <a:srgbClr val="FFB000"/>
    </a:custClr>
    <a:custClr name="Empathy Purple">
      <a:srgbClr val="D3BDF2"/>
    </a:custClr>
    <a:custClr name="Courage Coral">
      <a:srgbClr val="FF6B6B"/>
    </a:custClr>
    <a:custClr name="Blue">
      <a:srgbClr val="3774B1"/>
    </a:custClr>
    <a:custClr name="Lime">
      <a:srgbClr val="BCD530"/>
    </a:custClr>
    <a:custClr name="Orange">
      <a:srgbClr val="FF782C"/>
    </a:custClr>
    <a:custClr name="Grey">
      <a:srgbClr val="B4B4B4"/>
    </a:custClr>
    <a:custClr name="Trust Green tint 1">
      <a:srgbClr val="73C6BA"/>
    </a:custClr>
    <a:custClr name="Care Yellow tint 1">
      <a:srgbClr val="FFD473"/>
    </a:custClr>
    <a:custClr name="Empathy Purple tint 1">
      <a:srgbClr val="E6D9F8"/>
    </a:custClr>
    <a:custClr name="Courage Coral tint 1">
      <a:srgbClr val="F69C9C"/>
    </a:custClr>
    <a:custClr name="Blue tint 1">
      <a:srgbClr val="87ACD0"/>
    </a:custClr>
    <a:custClr name="Lime tint 1">
      <a:srgbClr val="D7E683"/>
    </a:custClr>
    <a:custClr name="Orange tint 1">
      <a:srgbClr val="FFAE80"/>
    </a:custClr>
    <a:custClr name="Grey tint 1">
      <a:srgbClr val="D2D2D2"/>
    </a:custClr>
    <a:custClr name="Trust Green tint 2">
      <a:srgbClr val="BFE5DF"/>
    </a:custClr>
    <a:custClr name="Care Yellow tint 2">
      <a:srgbClr val="FFEBBF"/>
    </a:custClr>
    <a:custClr name="Empathy Purple tint 2">
      <a:srgbClr val="F0E8FA"/>
    </a:custClr>
    <a:custClr name="Courage Coral tint 2">
      <a:srgbClr val="FBD2D2"/>
    </a:custClr>
    <a:custClr name="Blue tint 2">
      <a:srgbClr val="CDDCEB"/>
    </a:custClr>
    <a:custClr name="Lime tint 2">
      <a:srgbClr val="E8F0B7"/>
    </a:custClr>
    <a:custClr name="Orange tint 2">
      <a:srgbClr val="FFDDCA"/>
    </a:custClr>
    <a:custClr name="Grey tint 2">
      <a:srgbClr val="ECECEC"/>
    </a:custClr>
  </a:custClrLst>
  <a:extLst>
    <a:ext uri="{05A4C25C-085E-4340-85A3-A5531E510DB2}">
      <thm15:themeFamily xmlns:thm15="http://schemas.microsoft.com/office/thememl/2012/main" name="Kenvue_PowerPointTemplateBuild_v1-1" id="{99449A39-C58D-8948-81C2-9DA21365F296}" vid="{28B44C84-91F8-6640-ABD1-311B9D0EAC85}"/>
    </a:ext>
  </a:extLst>
</a:theme>
</file>

<file path=ppt/theme/theme2.xml><?xml version="1.0" encoding="utf-8"?>
<a:theme xmlns:a="http://schemas.openxmlformats.org/drawingml/2006/main" name="MSD 16_9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83" id="{D6774386-3971-D845-91DF-CA9A974FC6AF}" vid="{95840EDA-087B-B64C-91C6-EEF120E15A68}"/>
    </a:ext>
  </a:extLst>
</a:theme>
</file>

<file path=ppt/theme/theme3.xml><?xml version="1.0" encoding="utf-8"?>
<a:theme xmlns:a="http://schemas.openxmlformats.org/drawingml/2006/main" name="1_MSD 16_9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Ediva_Rick_April 15th_V5.potx" id="{26886C1B-CDAD-4896-A565-19E2CAEA8679}" vid="{9A20FC50-CAA9-4F64-A221-56E98435E528}"/>
    </a:ext>
  </a:extLst>
</a:theme>
</file>

<file path=ppt/theme/theme4.xml><?xml version="1.0" encoding="utf-8"?>
<a:theme xmlns:a="http://schemas.openxmlformats.org/drawingml/2006/main" name="2_MSD 16_9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Ediva_Rick_April 15th_V5.potx" id="{26886C1B-CDAD-4896-A565-19E2CAEA8679}" vid="{9A20FC50-CAA9-4F64-A221-56E98435E52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CB12D93D5F7A48AB2A77B1FA803F7A" ma:contentTypeVersion="16" ma:contentTypeDescription="Create a new document." ma:contentTypeScope="" ma:versionID="22be45d2630dbbd3a329f50c6432a697">
  <xsd:schema xmlns:xsd="http://www.w3.org/2001/XMLSchema" xmlns:xs="http://www.w3.org/2001/XMLSchema" xmlns:p="http://schemas.microsoft.com/office/2006/metadata/properties" xmlns:ns3="1d8faad2-95dc-4bb6-be83-d7b8ac81b80d" xmlns:ns4="45379291-07d1-4f04-872d-2ae1c3f358c4" targetNamespace="http://schemas.microsoft.com/office/2006/metadata/properties" ma:root="true" ma:fieldsID="7ebf41000d90fb15ad9cd6972d3b869c" ns3:_="" ns4:_="">
    <xsd:import namespace="1d8faad2-95dc-4bb6-be83-d7b8ac81b80d"/>
    <xsd:import namespace="45379291-07d1-4f04-872d-2ae1c3f358c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8faad2-95dc-4bb6-be83-d7b8ac81b80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379291-07d1-4f04-872d-2ae1c3f358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5379291-07d1-4f04-872d-2ae1c3f358c4" xsi:nil="true"/>
  </documentManagement>
</p:properties>
</file>

<file path=customXml/itemProps1.xml><?xml version="1.0" encoding="utf-8"?>
<ds:datastoreItem xmlns:ds="http://schemas.openxmlformats.org/officeDocument/2006/customXml" ds:itemID="{7D112B70-D339-469A-9D77-DF5B5BC00DA2}">
  <ds:schemaRefs>
    <ds:schemaRef ds:uri="1d8faad2-95dc-4bb6-be83-d7b8ac81b80d"/>
    <ds:schemaRef ds:uri="45379291-07d1-4f04-872d-2ae1c3f358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39EE72-0D76-4761-AECE-1CFA3F33FE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45AD32-8D2C-4FE7-93E8-5B69EFB00C93}">
  <ds:schemaRefs>
    <ds:schemaRef ds:uri="45379291-07d1-4f04-872d-2ae1c3f358c4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5</Words>
  <Application>Microsoft Office PowerPoint</Application>
  <PresentationFormat>Panorámica</PresentationFormat>
  <Paragraphs>70</Paragraphs>
  <Slides>12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12</vt:i4>
      </vt:variant>
    </vt:vector>
  </HeadingPairs>
  <TitlesOfParts>
    <vt:vector size="16" baseType="lpstr">
      <vt:lpstr>Kenvue</vt:lpstr>
      <vt:lpstr>MSD 16_9 theme</vt:lpstr>
      <vt:lpstr>1_MSD 16_9 theme</vt:lpstr>
      <vt:lpstr>2_MSD 16_9 theme</vt:lpstr>
      <vt:lpstr>Guia para el uso de la Herramienta</vt:lpstr>
      <vt:lpstr>Ingreso a la página Web</vt:lpstr>
      <vt:lpstr>Creación de cuenta</vt:lpstr>
      <vt:lpstr>Creación de cuenta</vt:lpstr>
      <vt:lpstr>Inicio de sesión</vt:lpstr>
      <vt:lpstr>Crear un nuevo recordatorio  </vt:lpstr>
      <vt:lpstr>Crear un nuevo recordatorio  </vt:lpstr>
      <vt:lpstr>Crear un nuevo recordatorio  </vt:lpstr>
      <vt:lpstr>Clientela  </vt:lpstr>
      <vt:lpstr>Informe de Envío </vt:lpstr>
      <vt:lpstr>Información de la cuenta </vt:lpstr>
      <vt:lpstr>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osa, Taylor</dc:creator>
  <cp:lastModifiedBy>Ferreira Llano, Daniela</cp:lastModifiedBy>
  <cp:revision>5</cp:revision>
  <dcterms:created xsi:type="dcterms:W3CDTF">2023-09-28T03:18:26Z</dcterms:created>
  <dcterms:modified xsi:type="dcterms:W3CDTF">2025-11-13T16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7fd646-07cb-4c4e-a107-4e4d6b30ba1b_Enabled">
    <vt:lpwstr>true</vt:lpwstr>
  </property>
  <property fmtid="{D5CDD505-2E9C-101B-9397-08002B2CF9AE}" pid="3" name="MSIP_Label_927fd646-07cb-4c4e-a107-4e4d6b30ba1b_SetDate">
    <vt:lpwstr>2023-09-28T04:03:48Z</vt:lpwstr>
  </property>
  <property fmtid="{D5CDD505-2E9C-101B-9397-08002B2CF9AE}" pid="4" name="MSIP_Label_927fd646-07cb-4c4e-a107-4e4d6b30ba1b_Method">
    <vt:lpwstr>Privileged</vt:lpwstr>
  </property>
  <property fmtid="{D5CDD505-2E9C-101B-9397-08002B2CF9AE}" pid="5" name="MSIP_Label_927fd646-07cb-4c4e-a107-4e4d6b30ba1b_Name">
    <vt:lpwstr>927fd646-07cb-4c4e-a107-4e4d6b30ba1b</vt:lpwstr>
  </property>
  <property fmtid="{D5CDD505-2E9C-101B-9397-08002B2CF9AE}" pid="6" name="MSIP_Label_927fd646-07cb-4c4e-a107-4e4d6b30ba1b_SiteId">
    <vt:lpwstr>a00de4ec-48a8-43a6-be74-e31274e2060d</vt:lpwstr>
  </property>
  <property fmtid="{D5CDD505-2E9C-101B-9397-08002B2CF9AE}" pid="7" name="MSIP_Label_927fd646-07cb-4c4e-a107-4e4d6b30ba1b_ActionId">
    <vt:lpwstr>03b2916d-dc99-40fd-951a-c99db60b3de9</vt:lpwstr>
  </property>
  <property fmtid="{D5CDD505-2E9C-101B-9397-08002B2CF9AE}" pid="8" name="MSIP_Label_927fd646-07cb-4c4e-a107-4e4d6b30ba1b_ContentBits">
    <vt:lpwstr>1</vt:lpwstr>
  </property>
  <property fmtid="{D5CDD505-2E9C-101B-9397-08002B2CF9AE}" pid="9" name="ContentTypeId">
    <vt:lpwstr>0x010100F0CB12D93D5F7A48AB2A77B1FA803F7A</vt:lpwstr>
  </property>
  <property fmtid="{D5CDD505-2E9C-101B-9397-08002B2CF9AE}" pid="10" name="_AdHocReviewCycleID">
    <vt:i4>-118019747</vt:i4>
  </property>
  <property fmtid="{D5CDD505-2E9C-101B-9397-08002B2CF9AE}" pid="11" name="_NewReviewCycle">
    <vt:lpwstr/>
  </property>
  <property fmtid="{D5CDD505-2E9C-101B-9397-08002B2CF9AE}" pid="12" name="_EmailSubject">
    <vt:lpwstr>2024 Forecast/2025 Budget Review Templates</vt:lpwstr>
  </property>
  <property fmtid="{D5CDD505-2E9C-101B-9397-08002B2CF9AE}" pid="13" name="_AuthorEmail">
    <vt:lpwstr>steve.strauch@merck.com</vt:lpwstr>
  </property>
  <property fmtid="{D5CDD505-2E9C-101B-9397-08002B2CF9AE}" pid="14" name="_AuthorEmailDisplayName">
    <vt:lpwstr>Strauch, Steve</vt:lpwstr>
  </property>
  <property fmtid="{D5CDD505-2E9C-101B-9397-08002B2CF9AE}" pid="15" name="_PreviousAdHocReviewCycleID">
    <vt:i4>-1455043037</vt:i4>
  </property>
</Properties>
</file>